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s Price Correlation Analysis P3Y" id="{7198BF53-1831-42BA-A6BC-7327AB3AB49E}">
          <p14:sldIdLst>
            <p14:sldId id="2147477365"/>
            <p14:sldId id="2147477366"/>
            <p14:sldId id="2147477367"/>
            <p14:sldId id="2147477368"/>
            <p14:sldId id="2147477369"/>
            <p14:sldId id="2147477370"/>
          </p14:sldIdLst>
        </p14:section>
        <p14:section name="Segments Price Correlation Analysis P3Y" id="{7841A88B-5978-4584-9356-FD02454C9F63}">
          <p14:sldIdLst>
            <p14:sldId id="2147477371"/>
            <p14:sldId id="2147477372"/>
            <p14:sldId id="2147477373"/>
            <p14:sldId id="2147477374"/>
            <p14:sldId id="2147477375"/>
            <p14:sldId id="2147477376"/>
            <p14:sldId id="2147477377"/>
            <p14:sldId id="2147477378"/>
            <p14:sldId id="2147477379"/>
            <p14:sldId id="2147477380"/>
            <p14:sldId id="2147477381"/>
            <p14:sldId id="214747738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notesMaster" Target="notesMasters/notesMaster1.xml"/><Relationship Id="rId24" Type="http://schemas.openxmlformats.org/officeDocument/2006/relationships/presProps" Target="presProps.xml"/><Relationship Id="rId25" Type="http://schemas.openxmlformats.org/officeDocument/2006/relationships/viewProps" Target="viewProps.xml"/><Relationship Id="rId26" Type="http://schemas.openxmlformats.org/officeDocument/2006/relationships/theme" Target="theme/theme1.xml"/><Relationship Id="rId27" Type="http://schemas.openxmlformats.org/officeDocument/2006/relationships/tableStyles" Target="tableStyles.xml"/><Relationship Id="rId28"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42957934245339</c:v>
                </c:pt>
                <c:pt idx="1">
                  <c:v>1.0234922684311927</c:v>
                </c:pt>
                <c:pt idx="2">
                  <c:v>1.0305272332921167</c:v>
                </c:pt>
                <c:pt idx="3">
                  <c:v>0.8341599342878236</c:v>
                </c:pt>
                <c:pt idx="4">
                  <c:v>0.9789517258947903</c:v>
                </c:pt>
                <c:pt idx="5">
                  <c:v>0.890961262553802</c:v>
                </c:pt>
                <c:pt idx="6">
                  <c:v>0.8894163261029028</c:v>
                </c:pt>
                <c:pt idx="7">
                  <c:v>0.9295487032877272</c:v>
                </c:pt>
                <c:pt idx="8">
                  <c:v>0.897716894977169</c:v>
                </c:pt>
                <c:pt idx="9">
                  <c:v>1.1642781666886806</c:v>
                </c:pt>
                <c:pt idx="10">
                  <c:v>1.0832468296859117</c:v>
                </c:pt>
                <c:pt idx="11">
                  <c:v>1.0304843913809074</c:v>
                </c:pt>
                <c:pt idx="12">
                  <c:v>1.0843713179599395</c:v>
                </c:pt>
                <c:pt idx="13">
                  <c:v>0.9385373387570424</c:v>
                </c:pt>
                <c:pt idx="14">
                  <c:v>0.859841293542951</c:v>
                </c:pt>
                <c:pt idx="15">
                  <c:v>1.0372699694525775</c:v>
                </c:pt>
                <c:pt idx="16">
                  <c:v>1.018189057228474</c:v>
                </c:pt>
                <c:pt idx="17">
                  <c:v>1.0613019487768314</c:v>
                </c:pt>
                <c:pt idx="18">
                  <c:v>1.0190473247213467</c:v>
                </c:pt>
                <c:pt idx="19">
                  <c:v>0.998581330306838</c:v>
                </c:pt>
                <c:pt idx="20">
                  <c:v>1.0011713694631539</c:v>
                </c:pt>
                <c:pt idx="21">
                  <c:v>1.01636930048145</c:v>
                </c:pt>
                <c:pt idx="22">
                  <c:v>1.0358736645217692</c:v>
                </c:pt>
                <c:pt idx="23">
                  <c:v>0.9148264662022757</c:v>
                </c:pt>
                <c:pt idx="24">
                  <c:v>0.7705112232184801</c:v>
                </c:pt>
                <c:pt idx="25">
                  <c:v>0.8391096027151127</c:v>
                </c:pt>
                <c:pt idx="26">
                  <c:v>1.0251124623065895</c:v>
                </c:pt>
                <c:pt idx="27">
                  <c:v>1.0509480122324157</c:v>
                </c:pt>
                <c:pt idx="28">
                  <c:v>1.1275510204081634</c:v>
                </c:pt>
                <c:pt idx="29">
                  <c:v>1.1454878794051742</c:v>
                </c:pt>
                <c:pt idx="30">
                  <c:v>1.1971435546875</c:v>
                </c:pt>
                <c:pt idx="31">
                  <c:v>0.9510920847445843</c:v>
                </c:pt>
                <c:pt idx="32">
                  <c:v>0.7413353894804651</c:v>
                </c:pt>
                <c:pt idx="33">
                  <c:v>0.765187956529485</c:v>
                </c:pt>
                <c:pt idx="34">
                  <c:v>0.8296863942791166</c:v>
                </c:pt>
                <c:pt idx="35">
                  <c:v>0.9697145229337426</c:v>
                </c:pt>
                <c:pt idx="36">
                  <c:v>1.015922355938326</c:v>
                </c:pt>
                <c:pt idx="37">
                  <c:v>1.0009360929353066</c:v>
                </c:pt>
                <c:pt idx="38">
                  <c:v>1.0432596916971917</c:v>
                </c:pt>
                <c:pt idx="39">
                  <c:v>1.0746390706068123</c:v>
                </c:pt>
                <c:pt idx="40">
                  <c:v>0.9645888178215375</c:v>
                </c:pt>
                <c:pt idx="41">
                  <c:v>0.950835689925685</c:v>
                </c:pt>
                <c:pt idx="42">
                  <c:v>0.9474066390041495</c:v>
                </c:pt>
                <c:pt idx="43">
                  <c:v>0.8207849775092814</c:v>
                </c:pt>
                <c:pt idx="44">
                  <c:v>0.8503449495842915</c:v>
                </c:pt>
                <c:pt idx="45">
                  <c:v>0.7960791415764928</c:v>
                </c:pt>
                <c:pt idx="46">
                  <c:v>0.9834089016378273</c:v>
                </c:pt>
                <c:pt idx="47">
                  <c:v>0.9685488603024148</c:v>
                </c:pt>
                <c:pt idx="48">
                  <c:v>1.0459475617046716</c:v>
                </c:pt>
                <c:pt idx="49">
                  <c:v>0.9480943640682358</c:v>
                </c:pt>
                <c:pt idx="50">
                  <c:v>0.9522109616222683</c:v>
                </c:pt>
                <c:pt idx="51">
                  <c:v>1.0392816853613127</c:v>
                </c:pt>
                <c:pt idx="52">
                  <c:v>1.0160415084325443</c:v>
                </c:pt>
                <c:pt idx="53">
                  <c:v>1.0196831538122024</c:v>
                </c:pt>
                <c:pt idx="54">
                  <c:v>1.0840284558515831</c:v>
                </c:pt>
                <c:pt idx="55">
                  <c:v>0.8642320637570045</c:v>
                </c:pt>
                <c:pt idx="56">
                  <c:v>0.7477197784533989</c:v>
                </c:pt>
                <c:pt idx="57">
                  <c:v>0.8746571302858105</c:v>
                </c:pt>
                <c:pt idx="58">
                  <c:v>0.8910378365335536</c:v>
                </c:pt>
                <c:pt idx="59">
                  <c:v>1.0080548673066598</c:v>
                </c:pt>
                <c:pt idx="60">
                  <c:v>0.8887215388763375</c:v>
                </c:pt>
                <c:pt idx="61">
                  <c:v>0.8590104930395536</c:v>
                </c:pt>
                <c:pt idx="62">
                  <c:v>0.8432899379486557</c:v>
                </c:pt>
                <c:pt idx="63">
                  <c:v>1.0873302995106533</c:v>
                </c:pt>
                <c:pt idx="64">
                  <c:v>1.0833081887112002</c:v>
                </c:pt>
                <c:pt idx="65">
                  <c:v>0.9266939598908271</c:v>
                </c:pt>
                <c:pt idx="66">
                  <c:v>0.8443846777542666</c:v>
                </c:pt>
                <c:pt idx="67">
                  <c:v>1.1231028008136443</c:v>
                </c:pt>
                <c:pt idx="68">
                  <c:v>1.0851972857501886</c:v>
                </c:pt>
                <c:pt idx="69">
                  <c:v>1.1502727674841497</c:v>
                </c:pt>
                <c:pt idx="70">
                  <c:v>1.0610991389540239</c:v>
                </c:pt>
                <c:pt idx="71">
                  <c:v>1.0659427710261415</c:v>
                </c:pt>
                <c:pt idx="72">
                  <c:v>0.9686737673939186</c:v>
                </c:pt>
                <c:pt idx="73">
                  <c:v>1.0533247488567181</c:v>
                </c:pt>
                <c:pt idx="74">
                  <c:v>0.7085540381763199</c:v>
                </c:pt>
                <c:pt idx="75">
                  <c:v>0.8184108488987738</c:v>
                </c:pt>
                <c:pt idx="76">
                  <c:v>1.0273896936278013</c:v>
                </c:pt>
                <c:pt idx="77">
                  <c:v>1.0811193564833175</c:v>
                </c:pt>
                <c:pt idx="78">
                  <c:v>1.0976058215213396</c:v>
                </c:pt>
                <c:pt idx="79">
                  <c:v>0.8724079140398874</c:v>
                </c:pt>
                <c:pt idx="80">
                  <c:v>0.9092238415726529</c:v>
                </c:pt>
                <c:pt idx="81">
                  <c:v>0.9764885948454625</c:v>
                </c:pt>
                <c:pt idx="82">
                  <c:v>0.909783917005789</c:v>
                </c:pt>
                <c:pt idx="83">
                  <c:v>0.7734093137708377</c:v>
                </c:pt>
                <c:pt idx="84">
                  <c:v>0.7614137338414405</c:v>
                </c:pt>
                <c:pt idx="85">
                  <c:v>0.9120748169615619</c:v>
                </c:pt>
                <c:pt idx="86">
                  <c:v>1.010511206199522</c:v>
                </c:pt>
                <c:pt idx="87">
                  <c:v>0.9650316425625725</c:v>
                </c:pt>
                <c:pt idx="88">
                  <c:v>0.8608402831247624</c:v>
                </c:pt>
                <c:pt idx="89">
                  <c:v>1.0121281551191987</c:v>
                </c:pt>
                <c:pt idx="90">
                  <c:v>1.0274566205808668</c:v>
                </c:pt>
                <c:pt idx="91">
                  <c:v>0.9630608818263621</c:v>
                </c:pt>
                <c:pt idx="92">
                  <c:v>0.8955402654946955</c:v>
                </c:pt>
                <c:pt idx="93">
                  <c:v>0.9002097185257635</c:v>
                </c:pt>
                <c:pt idx="94">
                  <c:v>0.9240246214774754</c:v>
                </c:pt>
                <c:pt idx="95">
                  <c:v>0.821215271215271</c:v>
                </c:pt>
                <c:pt idx="96">
                  <c:v>0.79905048053774</c:v>
                </c:pt>
                <c:pt idx="97">
                  <c:v>0.9292886912254202</c:v>
                </c:pt>
                <c:pt idx="98">
                  <c:v>0.8560836729249648</c:v>
                </c:pt>
                <c:pt idx="99">
                  <c:v>0.9429498986065377</c:v>
                </c:pt>
                <c:pt idx="100">
                  <c:v>0.8717478562306149</c:v>
                </c:pt>
                <c:pt idx="101">
                  <c:v>0.9266970349048431</c:v>
                </c:pt>
                <c:pt idx="102">
                  <c:v>0.8321110748730373</c:v>
                </c:pt>
                <c:pt idx="103">
                  <c:v>0.8249046918760947</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9731531032511102</c:v>
                </c:pt>
                <c:pt idx="1">
                  <c:v>0.9939820117543234</c:v>
                </c:pt>
                <c:pt idx="2">
                  <c:v>0.9915848906847536</c:v>
                </c:pt>
                <c:pt idx="3">
                  <c:v>0.7472775031466045</c:v>
                </c:pt>
                <c:pt idx="4">
                  <c:v>0.7668142448201909</c:v>
                </c:pt>
                <c:pt idx="5">
                  <c:v>0.8606370607089168</c:v>
                </c:pt>
                <c:pt idx="6">
                  <c:v>0.9692531513322984</c:v>
                </c:pt>
                <c:pt idx="7">
                  <c:v>0.927768814653127</c:v>
                </c:pt>
                <c:pt idx="8">
                  <c:v>1.0010239666148244</c:v>
                </c:pt>
                <c:pt idx="9">
                  <c:v>0.7559555794375783</c:v>
                </c:pt>
                <c:pt idx="10">
                  <c:v>0.8003811524026214</c:v>
                </c:pt>
                <c:pt idx="11">
                  <c:v>1.0284681130834978</c:v>
                </c:pt>
                <c:pt idx="12">
                  <c:v>0.9711762328991168</c:v>
                </c:pt>
                <c:pt idx="13">
                  <c:v>0.8337807064295751</c:v>
                </c:pt>
                <c:pt idx="14">
                  <c:v>0.8715139841900404</c:v>
                </c:pt>
                <c:pt idx="15">
                  <c:v>1.0299126784699957</c:v>
                </c:pt>
                <c:pt idx="16">
                  <c:v>1.1404954584625135</c:v>
                </c:pt>
                <c:pt idx="17">
                  <c:v>1.0123733640269497</c:v>
                </c:pt>
                <c:pt idx="18">
                  <c:v>0.9990529936995091</c:v>
                </c:pt>
                <c:pt idx="19">
                  <c:v>0.9941689847342109</c:v>
                </c:pt>
                <c:pt idx="20">
                  <c:v>0.9322802148289658</c:v>
                </c:pt>
                <c:pt idx="21">
                  <c:v>1.0000735226541677</c:v>
                </c:pt>
                <c:pt idx="22">
                  <c:v>1.0714285714285716</c:v>
                </c:pt>
                <c:pt idx="23">
                  <c:v>0.9966172135504759</c:v>
                </c:pt>
                <c:pt idx="24">
                  <c:v>0.7911933768858023</c:v>
                </c:pt>
                <c:pt idx="25">
                  <c:v>0.8237450567214156</c:v>
                </c:pt>
                <c:pt idx="26">
                  <c:v>1.1214786847918106</c:v>
                </c:pt>
                <c:pt idx="27">
                  <c:v>0.9911483628387906</c:v>
                </c:pt>
                <c:pt idx="28">
                  <c:v>1.012520487629836</c:v>
                </c:pt>
                <c:pt idx="29">
                  <c:v>0.744085256866099</c:v>
                </c:pt>
                <c:pt idx="30">
                  <c:v>0.7603651987110635</c:v>
                </c:pt>
                <c:pt idx="31">
                  <c:v>0.7639145419578423</c:v>
                </c:pt>
                <c:pt idx="32">
                  <c:v>0.7980523011518117</c:v>
                </c:pt>
                <c:pt idx="33">
                  <c:v>0.9579886768868792</c:v>
                </c:pt>
                <c:pt idx="34">
                  <c:v>1.0200685266764562</c:v>
                </c:pt>
                <c:pt idx="35">
                  <c:v>0.9971741400285461</c:v>
                </c:pt>
                <c:pt idx="36">
                  <c:v>0.899888011849069</c:v>
                </c:pt>
                <c:pt idx="37">
                  <c:v>0.9146556361410473</c:v>
                </c:pt>
                <c:pt idx="38">
                  <c:v>1.0610166614805805</c:v>
                </c:pt>
                <c:pt idx="39">
                  <c:v>1.005679843415589</c:v>
                </c:pt>
                <c:pt idx="40">
                  <c:v>0.9139503149371482</c:v>
                </c:pt>
                <c:pt idx="41">
                  <c:v>0.9786763749837473</c:v>
                </c:pt>
                <c:pt idx="42">
                  <c:v>0.9343346848507188</c:v>
                </c:pt>
                <c:pt idx="43">
                  <c:v>0.8499366494389602</c:v>
                </c:pt>
                <c:pt idx="44">
                  <c:v>0.885784110296491</c:v>
                </c:pt>
                <c:pt idx="45">
                  <c:v>0.9596155598068689</c:v>
                </c:pt>
                <c:pt idx="46">
                  <c:v>0.952871883763352</c:v>
                </c:pt>
                <c:pt idx="47">
                  <c:v>0.9658243762505976</c:v>
                </c:pt>
                <c:pt idx="48">
                  <c:v>0.8542517022059154</c:v>
                </c:pt>
                <c:pt idx="49">
                  <c:v>0.9802084813183691</c:v>
                </c:pt>
                <c:pt idx="50">
                  <c:v>0.7425811377733547</c:v>
                </c:pt>
                <c:pt idx="51">
                  <c:v>0.8452206496132371</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7923306622547801</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7923306622547801</c:v>
                </c:pt>
                <c:pt idx="1">
                  <c:v>0.7923306622547801</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8020395615528748</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8020395615528748</c:v>
                </c:pt>
                <c:pt idx="1">
                  <c:v>0.8020395615528748</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000230104323517</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000230104323517</c:v>
                </c:pt>
                <c:pt idx="1">
                  <c:v>1.000230104323517</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9731531032511102</c:v>
                </c:pt>
                <c:pt idx="1">
                  <c:v>0.9939820117543234</c:v>
                </c:pt>
                <c:pt idx="2">
                  <c:v>0.9915848906847536</c:v>
                </c:pt>
                <c:pt idx="3">
                  <c:v>0.7472775031466045</c:v>
                </c:pt>
                <c:pt idx="4">
                  <c:v>0.7668142448201909</c:v>
                </c:pt>
                <c:pt idx="5">
                  <c:v>0.8606370607089168</c:v>
                </c:pt>
                <c:pt idx="6">
                  <c:v>0.9692531513322984</c:v>
                </c:pt>
                <c:pt idx="7">
                  <c:v>0.927768814653127</c:v>
                </c:pt>
                <c:pt idx="8">
                  <c:v>1.0010239666148244</c:v>
                </c:pt>
                <c:pt idx="9">
                  <c:v>0.7559555794375783</c:v>
                </c:pt>
                <c:pt idx="10">
                  <c:v>0.8003811524026214</c:v>
                </c:pt>
                <c:pt idx="11">
                  <c:v>1.0284681130834978</c:v>
                </c:pt>
                <c:pt idx="12">
                  <c:v>0.9711762328991168</c:v>
                </c:pt>
                <c:pt idx="13">
                  <c:v>0.8337807064295751</c:v>
                </c:pt>
                <c:pt idx="14">
                  <c:v>0.8715139841900404</c:v>
                </c:pt>
                <c:pt idx="15">
                  <c:v>1.0299126784699957</c:v>
                </c:pt>
                <c:pt idx="16">
                  <c:v>1.1404954584625135</c:v>
                </c:pt>
                <c:pt idx="17">
                  <c:v>1.0123733640269497</c:v>
                </c:pt>
                <c:pt idx="18">
                  <c:v>0.9990529936995091</c:v>
                </c:pt>
                <c:pt idx="19">
                  <c:v>0.9941689847342109</c:v>
                </c:pt>
                <c:pt idx="20">
                  <c:v>0.9322802148289658</c:v>
                </c:pt>
                <c:pt idx="21">
                  <c:v>1.0000735226541677</c:v>
                </c:pt>
                <c:pt idx="22">
                  <c:v>1.0714285714285716</c:v>
                </c:pt>
                <c:pt idx="23">
                  <c:v>0.9966172135504759</c:v>
                </c:pt>
                <c:pt idx="24">
                  <c:v>0.7911933768858023</c:v>
                </c:pt>
                <c:pt idx="25">
                  <c:v>0.8237450567214156</c:v>
                </c:pt>
                <c:pt idx="26">
                  <c:v>1.1214786847918106</c:v>
                </c:pt>
                <c:pt idx="27">
                  <c:v>0.9911483628387906</c:v>
                </c:pt>
                <c:pt idx="28">
                  <c:v>1.012520487629836</c:v>
                </c:pt>
                <c:pt idx="29">
                  <c:v>0.744085256866099</c:v>
                </c:pt>
                <c:pt idx="30">
                  <c:v>0.7603651987110635</c:v>
                </c:pt>
                <c:pt idx="31">
                  <c:v>0.7639145419578423</c:v>
                </c:pt>
                <c:pt idx="32">
                  <c:v>0.7980523011518117</c:v>
                </c:pt>
                <c:pt idx="33">
                  <c:v>0.9579886768868792</c:v>
                </c:pt>
                <c:pt idx="34">
                  <c:v>1.0200685266764562</c:v>
                </c:pt>
                <c:pt idx="35">
                  <c:v>0.9971741400285461</c:v>
                </c:pt>
                <c:pt idx="36">
                  <c:v>0.899888011849069</c:v>
                </c:pt>
                <c:pt idx="37">
                  <c:v>0.9146556361410473</c:v>
                </c:pt>
                <c:pt idx="38">
                  <c:v>1.0610166614805805</c:v>
                </c:pt>
                <c:pt idx="39">
                  <c:v>1.005679843415589</c:v>
                </c:pt>
                <c:pt idx="40">
                  <c:v>0.9139503149371482</c:v>
                </c:pt>
                <c:pt idx="41">
                  <c:v>0.9786763749837473</c:v>
                </c:pt>
                <c:pt idx="42">
                  <c:v>0.9343346848507188</c:v>
                </c:pt>
                <c:pt idx="43">
                  <c:v>0.8499366494389602</c:v>
                </c:pt>
                <c:pt idx="44">
                  <c:v>0.885784110296491</c:v>
                </c:pt>
                <c:pt idx="45">
                  <c:v>0.9596155598068689</c:v>
                </c:pt>
                <c:pt idx="46">
                  <c:v>0.952871883763352</c:v>
                </c:pt>
                <c:pt idx="47">
                  <c:v>0.9658243762505976</c:v>
                </c:pt>
                <c:pt idx="48">
                  <c:v>0.8542517022059154</c:v>
                </c:pt>
                <c:pt idx="49">
                  <c:v>0.9802084813183691</c:v>
                </c:pt>
                <c:pt idx="50">
                  <c:v>0.7425811377733547</c:v>
                </c:pt>
                <c:pt idx="51">
                  <c:v>0.8452206496132371</c:v>
                </c:pt>
                <c:pt idx="52">
                  <c:v>0.8020395615528748</c:v>
                </c:pt>
                <c:pt idx="53">
                  <c:v>0.7923306622547801</c:v>
                </c:pt>
                <c:pt idx="54">
                  <c:v>1.000230104323517</c:v>
                </c:pt>
              </c:numCache>
            </c:numRef>
          </c:xVal>
          <c:yVal>
            <c:numRef>
              <c:f>Sheet1!$B$186:$B$240</c:f>
              <c:numCache>
                <c:formatCode>General</c:formatCode>
                <c:ptCount val="55"/>
                <c:pt idx="0">
                  <c:v>0.04640202501231189</c:v>
                </c:pt>
                <c:pt idx="1">
                  <c:v>0.042325291025259254</c:v>
                </c:pt>
                <c:pt idx="2">
                  <c:v>0.04279446707132464</c:v>
                </c:pt>
                <c:pt idx="3">
                  <c:v>0.09061148205850755</c:v>
                </c:pt>
                <c:pt idx="4">
                  <c:v>0.08678765716798628</c:v>
                </c:pt>
                <c:pt idx="5">
                  <c:v>0.06842420513037503</c:v>
                </c:pt>
                <c:pt idx="6">
                  <c:v>0.04716534232837952</c:v>
                </c:pt>
                <c:pt idx="7">
                  <c:v>0.05528485589982865</c:v>
                </c:pt>
                <c:pt idx="8">
                  <c:v>0.0409470058063931</c:v>
                </c:pt>
                <c:pt idx="9">
                  <c:v>0.0889129672970552</c:v>
                </c:pt>
                <c:pt idx="10">
                  <c:v>0.0802177808367115</c:v>
                </c:pt>
                <c:pt idx="11">
                  <c:v>0.035575505680151165</c:v>
                </c:pt>
                <c:pt idx="12">
                  <c:v>0.04678894757000254</c:v>
                </c:pt>
                <c:pt idx="13">
                  <c:v>0.07368065974690127</c:v>
                </c:pt>
                <c:pt idx="14">
                  <c:v>0.06629532143859507</c:v>
                </c:pt>
                <c:pt idx="15">
                  <c:v>0.03529276840629225</c:v>
                </c:pt>
                <c:pt idx="16">
                  <c:v>0.013648975717457212</c:v>
                </c:pt>
                <c:pt idx="17">
                  <c:v>0.038725647248145034</c:v>
                </c:pt>
                <c:pt idx="18">
                  <c:v>0.041332774089459234</c:v>
                </c:pt>
                <c:pt idx="19">
                  <c:v>0.04228869577584185</c:v>
                </c:pt>
                <c:pt idx="20">
                  <c:v>0.054401862994885974</c:v>
                </c:pt>
                <c:pt idx="21">
                  <c:v>0.04113303126214851</c:v>
                </c:pt>
                <c:pt idx="22">
                  <c:v>0.027167078488313318</c:v>
                </c:pt>
                <c:pt idx="23">
                  <c:v>0.04180951667618765</c:v>
                </c:pt>
                <c:pt idx="24">
                  <c:v>0.0820160563780846</c:v>
                </c:pt>
                <c:pt idx="25">
                  <c:v>0.07564488529626681</c:v>
                </c:pt>
                <c:pt idx="26">
                  <c:v>0.017371029973707958</c:v>
                </c:pt>
                <c:pt idx="27">
                  <c:v>0.04287990639742556</c:v>
                </c:pt>
                <c:pt idx="28">
                  <c:v>0.03869685151014027</c:v>
                </c:pt>
                <c:pt idx="29">
                  <c:v>0.09123628382883417</c:v>
                </c:pt>
                <c:pt idx="30">
                  <c:v>0.08804989543904562</c:v>
                </c:pt>
                <c:pt idx="31">
                  <c:v>0.08735520093579663</c:v>
                </c:pt>
                <c:pt idx="32">
                  <c:v>0.08067359478603589</c:v>
                </c:pt>
                <c:pt idx="33">
                  <c:v>0.04937007935580667</c:v>
                </c:pt>
                <c:pt idx="34">
                  <c:v>0.037219513064287</c:v>
                </c:pt>
                <c:pt idx="35">
                  <c:v>0.04170051235168895</c:v>
                </c:pt>
                <c:pt idx="36">
                  <c:v>0.060741820500738036</c:v>
                </c:pt>
                <c:pt idx="37">
                  <c:v>0.05785143016416114</c:v>
                </c:pt>
                <c:pt idx="38">
                  <c:v>0.029204947498518957</c:v>
                </c:pt>
                <c:pt idx="39">
                  <c:v>0.04003573524268217</c:v>
                </c:pt>
                <c:pt idx="40">
                  <c:v>0.05798947901695056</c:v>
                </c:pt>
                <c:pt idx="41">
                  <c:v>0.04532098374753821</c:v>
                </c:pt>
                <c:pt idx="42">
                  <c:v>0.05399975225721726</c:v>
                </c:pt>
                <c:pt idx="43">
                  <c:v>0.0705185410046213</c:v>
                </c:pt>
                <c:pt idx="44">
                  <c:v>0.06350230383574185</c:v>
                </c:pt>
                <c:pt idx="45">
                  <c:v>0.049051658018853056</c:v>
                </c:pt>
                <c:pt idx="46">
                  <c:v>0.05037156267540463</c:v>
                </c:pt>
                <c:pt idx="47">
                  <c:v>0.047836438651423646</c:v>
                </c:pt>
                <c:pt idx="48">
                  <c:v>0.06967397815735266</c:v>
                </c:pt>
                <c:pt idx="49">
                  <c:v>0.04502111253896443</c:v>
                </c:pt>
                <c:pt idx="50">
                  <c:v>0.09153067724004052</c:v>
                </c:pt>
                <c:pt idx="51">
                  <c:v>0.0714415791354717</c:v>
                </c:pt>
                <c:pt idx="52">
                  <c:v>0.07989318903459022</c:v>
                </c:pt>
                <c:pt idx="53">
                  <c:v>0.08179346142473048</c:v>
                </c:pt>
                <c:pt idx="54">
                  <c:v>0.0411023843459604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4.1311</c:v>
                </c:pt>
                <c:pt idx="1">
                  <c:v>14.5135</c:v>
                </c:pt>
                <c:pt idx="2">
                  <c:v>14.458</c:v>
                </c:pt>
                <c:pt idx="3">
                  <c:v>14.0664</c:v>
                </c:pt>
                <c:pt idx="4">
                  <c:v>13.9734</c:v>
                </c:pt>
                <c:pt idx="5">
                  <c:v>14.0094</c:v>
                </c:pt>
                <c:pt idx="6">
                  <c:v>13.8736</c:v>
                </c:pt>
                <c:pt idx="7">
                  <c:v>10.8247</c:v>
                </c:pt>
                <c:pt idx="8">
                  <c:v>13.8746</c:v>
                </c:pt>
                <c:pt idx="9">
                  <c:v>14.4651</c:v>
                </c:pt>
                <c:pt idx="10">
                  <c:v>14.4635</c:v>
                </c:pt>
                <c:pt idx="11">
                  <c:v>12.9158</c:v>
                </c:pt>
                <c:pt idx="12">
                  <c:v>12.5129</c:v>
                </c:pt>
                <c:pt idx="13">
                  <c:v>14.415</c:v>
                </c:pt>
                <c:pt idx="14">
                  <c:v>15.0078</c:v>
                </c:pt>
                <c:pt idx="15">
                  <c:v>15.1765</c:v>
                </c:pt>
                <c:pt idx="16">
                  <c:v>14.5182</c:v>
                </c:pt>
                <c:pt idx="17">
                  <c:v>14.5948</c:v>
                </c:pt>
                <c:pt idx="18">
                  <c:v>14.8373</c:v>
                </c:pt>
                <c:pt idx="19">
                  <c:v>14.6007</c:v>
                </c:pt>
                <c:pt idx="20">
                  <c:v>13.4956</c:v>
                </c:pt>
                <c:pt idx="21">
                  <c:v>14.3283</c:v>
                </c:pt>
                <c:pt idx="22">
                  <c:v>14.0516</c:v>
                </c:pt>
                <c:pt idx="23">
                  <c:v>14.4113</c:v>
                </c:pt>
                <c:pt idx="24">
                  <c:v>14.2702</c:v>
                </c:pt>
                <c:pt idx="25">
                  <c:v>14.45</c:v>
                </c:pt>
                <c:pt idx="26">
                  <c:v>14.2139</c:v>
                </c:pt>
                <c:pt idx="27">
                  <c:v>12.3248</c:v>
                </c:pt>
                <c:pt idx="28">
                  <c:v>12.8195</c:v>
                </c:pt>
                <c:pt idx="29">
                  <c:v>14.9857</c:v>
                </c:pt>
                <c:pt idx="30">
                  <c:v>15.1217</c:v>
                </c:pt>
                <c:pt idx="31">
                  <c:v>13.8895</c:v>
                </c:pt>
                <c:pt idx="32">
                  <c:v>13.6892</c:v>
                </c:pt>
                <c:pt idx="33">
                  <c:v>15.4179</c:v>
                </c:pt>
                <c:pt idx="34">
                  <c:v>13.1818</c:v>
                </c:pt>
                <c:pt idx="35">
                  <c:v>13.305</c:v>
                </c:pt>
                <c:pt idx="36">
                  <c:v>15.3387</c:v>
                </c:pt>
                <c:pt idx="37">
                  <c:v>15.5086</c:v>
                </c:pt>
                <c:pt idx="38">
                  <c:v>16.2526</c:v>
                </c:pt>
                <c:pt idx="39">
                  <c:v>15.6095</c:v>
                </c:pt>
                <c:pt idx="40">
                  <c:v>15.8886</c:v>
                </c:pt>
                <c:pt idx="41">
                  <c:v>15.4442</c:v>
                </c:pt>
                <c:pt idx="42">
                  <c:v>13.9071</c:v>
                </c:pt>
                <c:pt idx="43">
                  <c:v>15.9194</c:v>
                </c:pt>
                <c:pt idx="44">
                  <c:v>16.0103</c:v>
                </c:pt>
                <c:pt idx="45">
                  <c:v>16.1111</c:v>
                </c:pt>
                <c:pt idx="46">
                  <c:v>16.3048</c:v>
                </c:pt>
                <c:pt idx="47">
                  <c:v>15.8923</c:v>
                </c:pt>
                <c:pt idx="48">
                  <c:v>16.8504</c:v>
                </c:pt>
                <c:pt idx="49">
                  <c:v>16.2164</c:v>
                </c:pt>
                <c:pt idx="50">
                  <c:v>16.2952</c:v>
                </c:pt>
                <c:pt idx="51">
                  <c:v>16.8301</c:v>
                </c:pt>
                <c:pt idx="52">
                  <c:v>16.3865</c:v>
                </c:pt>
                <c:pt idx="53">
                  <c:v>16.4316</c:v>
                </c:pt>
                <c:pt idx="54">
                  <c:v>16.2607</c:v>
                </c:pt>
                <c:pt idx="55">
                  <c:v>16.3036</c:v>
                </c:pt>
                <c:pt idx="56">
                  <c:v>16.128</c:v>
                </c:pt>
                <c:pt idx="57">
                  <c:v>16.5169</c:v>
                </c:pt>
                <c:pt idx="58">
                  <c:v>16.4224</c:v>
                </c:pt>
                <c:pt idx="59">
                  <c:v>15.9404</c:v>
                </c:pt>
                <c:pt idx="60">
                  <c:v>16.501</c:v>
                </c:pt>
                <c:pt idx="61">
                  <c:v>15.984</c:v>
                </c:pt>
                <c:pt idx="62">
                  <c:v>15.8963</c:v>
                </c:pt>
                <c:pt idx="63">
                  <c:v>13.38</c:v>
                </c:pt>
                <c:pt idx="64">
                  <c:v>14.5733</c:v>
                </c:pt>
                <c:pt idx="65">
                  <c:v>15.5397</c:v>
                </c:pt>
                <c:pt idx="66">
                  <c:v>14.4175</c:v>
                </c:pt>
                <c:pt idx="67">
                  <c:v>13.8488</c:v>
                </c:pt>
                <c:pt idx="68">
                  <c:v>15.4038</c:v>
                </c:pt>
                <c:pt idx="69">
                  <c:v>15.4299</c:v>
                </c:pt>
                <c:pt idx="70">
                  <c:v>15.4659</c:v>
                </c:pt>
                <c:pt idx="71">
                  <c:v>14.2607</c:v>
                </c:pt>
                <c:pt idx="72">
                  <c:v>14.1274</c:v>
                </c:pt>
                <c:pt idx="73">
                  <c:v>15.9551</c:v>
                </c:pt>
                <c:pt idx="74">
                  <c:v>15.5714</c:v>
                </c:pt>
                <c:pt idx="75">
                  <c:v>15.8426</c:v>
                </c:pt>
                <c:pt idx="76">
                  <c:v>15.9436</c:v>
                </c:pt>
                <c:pt idx="77">
                  <c:v>16.2661</c:v>
                </c:pt>
                <c:pt idx="78">
                  <c:v>15.899</c:v>
                </c:pt>
                <c:pt idx="79">
                  <c:v>12.6412</c:v>
                </c:pt>
                <c:pt idx="80">
                  <c:v>13.5742</c:v>
                </c:pt>
                <c:pt idx="81">
                  <c:v>15.8711</c:v>
                </c:pt>
                <c:pt idx="82">
                  <c:v>15.9673</c:v>
                </c:pt>
                <c:pt idx="83">
                  <c:v>15.5228</c:v>
                </c:pt>
                <c:pt idx="84">
                  <c:v>15.4348</c:v>
                </c:pt>
                <c:pt idx="85">
                  <c:v>13.5798</c:v>
                </c:pt>
                <c:pt idx="86">
                  <c:v>14.4969</c:v>
                </c:pt>
                <c:pt idx="87">
                  <c:v>15.8225</c:v>
                </c:pt>
                <c:pt idx="88">
                  <c:v>16.5054</c:v>
                </c:pt>
                <c:pt idx="89">
                  <c:v>15.6866</c:v>
                </c:pt>
                <c:pt idx="90">
                  <c:v>15.9804</c:v>
                </c:pt>
                <c:pt idx="91">
                  <c:v>15.9201</c:v>
                </c:pt>
                <c:pt idx="92">
                  <c:v>14.7839</c:v>
                </c:pt>
                <c:pt idx="93">
                  <c:v>14.3655</c:v>
                </c:pt>
                <c:pt idx="94">
                  <c:v>15.9672</c:v>
                </c:pt>
                <c:pt idx="95">
                  <c:v>16.6519</c:v>
                </c:pt>
                <c:pt idx="96">
                  <c:v>16.2332</c:v>
                </c:pt>
                <c:pt idx="97">
                  <c:v>16.1649</c:v>
                </c:pt>
                <c:pt idx="98">
                  <c:v>13.2404</c:v>
                </c:pt>
                <c:pt idx="99">
                  <c:v>16.0572</c:v>
                </c:pt>
                <c:pt idx="100">
                  <c:v>15.9951</c:v>
                </c:pt>
                <c:pt idx="101">
                  <c:v>13.4799</c:v>
                </c:pt>
                <c:pt idx="102">
                  <c:v>14.0491</c:v>
                </c:pt>
                <c:pt idx="103">
                  <c:v>16.059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31480047262</c:v>
                </c:pt>
                <c:pt idx="23">
                  <c:v>0.013951671410234946</c:v>
                </c:pt>
                <c:pt idx="24">
                  <c:v>0.016285300586309212</c:v>
                </c:pt>
                <c:pt idx="25">
                  <c:v>0.023162485219782515</c:v>
                </c:pt>
                <c:pt idx="26">
                  <c:v>0.01726092969110129</c:v>
                </c:pt>
                <c:pt idx="27">
                  <c:v>0.02212224293844631</c:v>
                </c:pt>
                <c:pt idx="28">
                  <c:v>0.0270796422100541</c:v>
                </c:pt>
                <c:pt idx="29">
                  <c:v>0.021287875016180586</c:v>
                </c:pt>
                <c:pt idx="30">
                  <c:v>0.01794075219393254</c:v>
                </c:pt>
                <c:pt idx="31">
                  <c:v>0.01815128588771085</c:v>
                </c:pt>
                <c:pt idx="32">
                  <c:v>0.02722889936763876</c:v>
                </c:pt>
                <c:pt idx="33">
                  <c:v>0.03242273139245778</c:v>
                </c:pt>
                <c:pt idx="34">
                  <c:v>0.02654277780711809</c:v>
                </c:pt>
                <c:pt idx="35">
                  <c:v>0.015661578110474195</c:v>
                </c:pt>
                <c:pt idx="36">
                  <c:v>0.025226537986722072</c:v>
                </c:pt>
                <c:pt idx="37">
                  <c:v>0.024393040748925787</c:v>
                </c:pt>
                <c:pt idx="38">
                  <c:v>0.014911469596569443</c:v>
                </c:pt>
                <c:pt idx="39">
                  <c:v>0.016686901040993983</c:v>
                </c:pt>
                <c:pt idx="40">
                  <c:v>0.02520423394287269</c:v>
                </c:pt>
                <c:pt idx="41">
                  <c:v>0.029172243693566597</c:v>
                </c:pt>
                <c:pt idx="42">
                  <c:v>0.01536564626860177</c:v>
                </c:pt>
                <c:pt idx="43">
                  <c:v>0.018159229438239152</c:v>
                </c:pt>
                <c:pt idx="44">
                  <c:v>0.015163661521597411</c:v>
                </c:pt>
                <c:pt idx="45">
                  <c:v>0.021231786451207452</c:v>
                </c:pt>
                <c:pt idx="46">
                  <c:v>0.016817703704584807</c:v>
                </c:pt>
                <c:pt idx="47">
                  <c:v>0.01102371987503255</c:v>
                </c:pt>
                <c:pt idx="48">
                  <c:v>0.011981754356366853</c:v>
                </c:pt>
                <c:pt idx="49">
                  <c:v>0.015019776013179971</c:v>
                </c:pt>
                <c:pt idx="50">
                  <c:v>0.012713907075700814</c:v>
                </c:pt>
                <c:pt idx="51">
                  <c:v>0.012885639793366169</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14.703420120939176</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14.703420120939176</c:v>
                </c:pt>
                <c:pt idx="1">
                  <c:v>14.703420120939176</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4.703420120939176</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4.703420120939176</c:v>
                </c:pt>
                <c:pt idx="1">
                  <c:v>14.703420120939176</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6.334750400195393</c:v>
                </c:pt>
              </c:numCache>
            </c:numRef>
          </c:xVal>
          <c:yVal>
            <c:numRef>
              <c:f>Sheet1!$B$178:$B$179</c:f>
              <c:numCache>
                <c:formatCode>General</c:formatCode>
                <c:ptCount val="2"/>
                <c:pt idx="0">
                  <c:v>0.01703278485963925</c:v>
                </c:pt>
                <c:pt idx="1">
                  <c:v>0.01703278485963925</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6.334750400195393</c:v>
                </c:pt>
                <c:pt idx="1">
                  <c:v>16.334750400195393</c:v>
                </c:pt>
              </c:numCache>
            </c:numRef>
          </c:xVal>
          <c:yVal>
            <c:numRef>
              <c:f>Sheet1!$B$182:$B$183</c:f>
              <c:numCache>
                <c:formatCode>General</c:formatCode>
                <c:ptCount val="2"/>
                <c:pt idx="0">
                  <c:v>0.017032784859639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pt idx="52">
                  <c:v>14.703420120939176</c:v>
                </c:pt>
                <c:pt idx="53">
                  <c:v>14.703420120939176</c:v>
                </c:pt>
                <c:pt idx="54">
                  <c:v>16.334750400195393</c:v>
                </c:pt>
              </c:numCache>
            </c:numRef>
          </c:xVal>
          <c:yVal>
            <c:numRef>
              <c:f>Sheet1!$B$186:$B$240</c:f>
              <c:numCache>
                <c:formatCode>General</c:formatCode>
                <c:ptCount val="55"/>
                <c:pt idx="0">
                  <c:v>0.014521455733510671</c:v>
                </c:pt>
                <c:pt idx="1">
                  <c:v>0.01662629421882629</c:v>
                </c:pt>
                <c:pt idx="2">
                  <c:v>0.01479850373724706</c:v>
                </c:pt>
                <c:pt idx="3">
                  <c:v>0.020737914873528357</c:v>
                </c:pt>
                <c:pt idx="4">
                  <c:v>0.020330125115219727</c:v>
                </c:pt>
                <c:pt idx="5">
                  <c:v>0.01847431854337503</c:v>
                </c:pt>
                <c:pt idx="6">
                  <c:v>0.01969405610289611</c:v>
                </c:pt>
                <c:pt idx="7">
                  <c:v>0.019497424654551357</c:v>
                </c:pt>
                <c:pt idx="8">
                  <c:v>0.020677213344619805</c:v>
                </c:pt>
                <c:pt idx="9">
                  <c:v>0.017932674131575788</c:v>
                </c:pt>
                <c:pt idx="10">
                  <c:v>0.021131177770217835</c:v>
                </c:pt>
                <c:pt idx="11">
                  <c:v>0.03355060682160686</c:v>
                </c:pt>
                <c:pt idx="12">
                  <c:v>0.026467724149304955</c:v>
                </c:pt>
                <c:pt idx="13">
                  <c:v>0.02144558056097487</c:v>
                </c:pt>
                <c:pt idx="14">
                  <c:v>0.027489273811022105</c:v>
                </c:pt>
                <c:pt idx="15">
                  <c:v>0.027577472613709714</c:v>
                </c:pt>
                <c:pt idx="16">
                  <c:v>0.020664242932459873</c:v>
                </c:pt>
                <c:pt idx="17">
                  <c:v>0.020724425644882</c:v>
                </c:pt>
                <c:pt idx="18">
                  <c:v>0.019757351714236634</c:v>
                </c:pt>
                <c:pt idx="19">
                  <c:v>0.032620887677982116</c:v>
                </c:pt>
                <c:pt idx="20">
                  <c:v>0.03234695257316411</c:v>
                </c:pt>
                <c:pt idx="21">
                  <c:v>0.020621699980575253</c:v>
                </c:pt>
                <c:pt idx="22">
                  <c:v>0.021455956890702815</c:v>
                </c:pt>
                <c:pt idx="23">
                  <c:v>0.018874844870874083</c:v>
                </c:pt>
                <c:pt idx="24">
                  <c:v>0.019740230770185496</c:v>
                </c:pt>
                <c:pt idx="25">
                  <c:v>0.021003030098077594</c:v>
                </c:pt>
                <c:pt idx="26">
                  <c:v>0.02367182210410755</c:v>
                </c:pt>
                <c:pt idx="27">
                  <c:v>0.027070070090012735</c:v>
                </c:pt>
                <c:pt idx="28">
                  <c:v>0.029314989026655747</c:v>
                </c:pt>
                <c:pt idx="29">
                  <c:v>0.02327855920741806</c:v>
                </c:pt>
                <c:pt idx="30">
                  <c:v>0.023086078290964512</c:v>
                </c:pt>
                <c:pt idx="31">
                  <c:v>0.022646121910499223</c:v>
                </c:pt>
                <c:pt idx="32">
                  <c:v>0.02320073673445841</c:v>
                </c:pt>
                <c:pt idx="33">
                  <c:v>0.025900657729672233</c:v>
                </c:pt>
                <c:pt idx="34">
                  <c:v>0.025735674086997756</c:v>
                </c:pt>
                <c:pt idx="35">
                  <c:v>0.0175845482692029</c:v>
                </c:pt>
                <c:pt idx="36">
                  <c:v>0.026405466170937225</c:v>
                </c:pt>
                <c:pt idx="37">
                  <c:v>0.025597150085129555</c:v>
                </c:pt>
                <c:pt idx="38">
                  <c:v>0.016295808116990926</c:v>
                </c:pt>
                <c:pt idx="39">
                  <c:v>0.017013331317679</c:v>
                </c:pt>
                <c:pt idx="40">
                  <c:v>0.014303552809223616</c:v>
                </c:pt>
                <c:pt idx="41">
                  <c:v>0.018247076922332822</c:v>
                </c:pt>
                <c:pt idx="42">
                  <c:v>0.016844197143113346</c:v>
                </c:pt>
                <c:pt idx="43">
                  <c:v>0.01989224400070004</c:v>
                </c:pt>
                <c:pt idx="44">
                  <c:v>0.016391789166974507</c:v>
                </c:pt>
                <c:pt idx="45">
                  <c:v>0.023842512728132412</c:v>
                </c:pt>
                <c:pt idx="46">
                  <c:v>0.019273295932427534</c:v>
                </c:pt>
                <c:pt idx="47">
                  <c:v>0.011880161001259784</c:v>
                </c:pt>
                <c:pt idx="48">
                  <c:v>0.012724794241115306</c:v>
                </c:pt>
                <c:pt idx="49">
                  <c:v>0.01938432266051665</c:v>
                </c:pt>
                <c:pt idx="50">
                  <c:v>0.012423880679004615</c:v>
                </c:pt>
                <c:pt idx="51">
                  <c:v>0.017503094080838458</c:v>
                </c:pt>
                <c:pt idx="52">
                  <c:v>0.02549639529601873</c:v>
                </c:pt>
                <c:pt idx="53">
                  <c:v>0.02549639529601873</c:v>
                </c:pt>
                <c:pt idx="54">
                  <c:v>0.0170327848596392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0"/>
          <c:min val="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1634748386246871</c:v>
                </c:pt>
                <c:pt idx="1">
                  <c:v>1.2179535594102198</c:v>
                </c:pt>
                <c:pt idx="2">
                  <c:v>1.2517423789858273</c:v>
                </c:pt>
                <c:pt idx="3">
                  <c:v>1.2130703622894692</c:v>
                </c:pt>
                <c:pt idx="4">
                  <c:v>1.223236717936148</c:v>
                </c:pt>
                <c:pt idx="5">
                  <c:v>1.192056023076334</c:v>
                </c:pt>
                <c:pt idx="6">
                  <c:v>1.1790160702297083</c:v>
                </c:pt>
                <c:pt idx="7">
                  <c:v>0.9286406725861108</c:v>
                </c:pt>
                <c:pt idx="8">
                  <c:v>1.1881786729695476</c:v>
                </c:pt>
                <c:pt idx="9">
                  <c:v>1.3401304452556098</c:v>
                </c:pt>
                <c:pt idx="10">
                  <c:v>1.2685389020935474</c:v>
                </c:pt>
                <c:pt idx="11">
                  <c:v>1.0792305892576626</c:v>
                </c:pt>
                <c:pt idx="12">
                  <c:v>1.0576009601568708</c:v>
                </c:pt>
                <c:pt idx="13">
                  <c:v>1.1675468152659885</c:v>
                </c:pt>
                <c:pt idx="14">
                  <c:v>1.257714161205437</c:v>
                </c:pt>
                <c:pt idx="15">
                  <c:v>1.2535310151152228</c:v>
                </c:pt>
                <c:pt idx="16">
                  <c:v>1.1724204762943042</c:v>
                </c:pt>
                <c:pt idx="17">
                  <c:v>1.2164664894104702</c:v>
                </c:pt>
                <c:pt idx="18">
                  <c:v>1.1922298111691443</c:v>
                </c:pt>
                <c:pt idx="19">
                  <c:v>1.2628287738174522</c:v>
                </c:pt>
                <c:pt idx="20">
                  <c:v>1.1651313574320765</c:v>
                </c:pt>
                <c:pt idx="21">
                  <c:v>1.2657173396464758</c:v>
                </c:pt>
                <c:pt idx="22">
                  <c:v>1.1925316133412545</c:v>
                </c:pt>
                <c:pt idx="23">
                  <c:v>1.2349437855624872</c:v>
                </c:pt>
                <c:pt idx="24">
                  <c:v>1.2060682893847194</c:v>
                </c:pt>
                <c:pt idx="25">
                  <c:v>1.2365858250466393</c:v>
                </c:pt>
                <c:pt idx="26">
                  <c:v>1.1858257206023444</c:v>
                </c:pt>
                <c:pt idx="27">
                  <c:v>1.0839277076645706</c:v>
                </c:pt>
                <c:pt idx="28">
                  <c:v>1.0241262232873976</c:v>
                </c:pt>
                <c:pt idx="29">
                  <c:v>1.2091190020897375</c:v>
                </c:pt>
                <c:pt idx="30">
                  <c:v>1.2286872724908997</c:v>
                </c:pt>
                <c:pt idx="31">
                  <c:v>1.138101129948132</c:v>
                </c:pt>
                <c:pt idx="32">
                  <c:v>1.122617680826636</c:v>
                </c:pt>
                <c:pt idx="33">
                  <c:v>1.2759993379127699</c:v>
                </c:pt>
                <c:pt idx="34">
                  <c:v>1.0949703036092537</c:v>
                </c:pt>
                <c:pt idx="35">
                  <c:v>0.989094315216664</c:v>
                </c:pt>
                <c:pt idx="36">
                  <c:v>1.2069163584861122</c:v>
                </c:pt>
                <c:pt idx="37">
                  <c:v>1.2103895293024998</c:v>
                </c:pt>
                <c:pt idx="38">
                  <c:v>1.3001559937602496</c:v>
                </c:pt>
                <c:pt idx="39">
                  <c:v>1.2370623385268897</c:v>
                </c:pt>
                <c:pt idx="40">
                  <c:v>1.2318845074353766</c:v>
                </c:pt>
                <c:pt idx="41">
                  <c:v>1.174142440092446</c:v>
                </c:pt>
                <c:pt idx="42">
                  <c:v>1.0734762875138941</c:v>
                </c:pt>
                <c:pt idx="43">
                  <c:v>1.2740718213030917</c:v>
                </c:pt>
                <c:pt idx="44">
                  <c:v>1.1781201939704335</c:v>
                </c:pt>
                <c:pt idx="45">
                  <c:v>1.2653226313144008</c:v>
                </c:pt>
                <c:pt idx="46">
                  <c:v>1.3093805963556935</c:v>
                </c:pt>
                <c:pt idx="47">
                  <c:v>1.249168782374256</c:v>
                </c:pt>
                <c:pt idx="48">
                  <c:v>1.374566634308695</c:v>
                </c:pt>
                <c:pt idx="49">
                  <c:v>1.2765200415630216</c:v>
                </c:pt>
                <c:pt idx="50">
                  <c:v>1.2318624745806277</c:v>
                </c:pt>
                <c:pt idx="51">
                  <c:v>1.3539140997691201</c:v>
                </c:pt>
                <c:pt idx="52">
                  <c:v>1.2315491221741224</c:v>
                </c:pt>
                <c:pt idx="53">
                  <c:v>1.318261316047045</c:v>
                </c:pt>
                <c:pt idx="54">
                  <c:v>1.2910543156356937</c:v>
                </c:pt>
                <c:pt idx="55">
                  <c:v>1.3175265063356607</c:v>
                </c:pt>
                <c:pt idx="56">
                  <c:v>1.3228454957799851</c:v>
                </c:pt>
                <c:pt idx="57">
                  <c:v>1.2887014598141486</c:v>
                </c:pt>
                <c:pt idx="58">
                  <c:v>1.269403498465653</c:v>
                </c:pt>
                <c:pt idx="59">
                  <c:v>1.261966211187992</c:v>
                </c:pt>
                <c:pt idx="60">
                  <c:v>1.2754691896237207</c:v>
                </c:pt>
                <c:pt idx="61">
                  <c:v>1.282464797207847</c:v>
                </c:pt>
                <c:pt idx="62">
                  <c:v>1.3439436595902978</c:v>
                </c:pt>
                <c:pt idx="63">
                  <c:v>0.9916914342467074</c:v>
                </c:pt>
                <c:pt idx="64">
                  <c:v>1.194043424825891</c:v>
                </c:pt>
                <c:pt idx="65">
                  <c:v>1.2370993679048512</c:v>
                </c:pt>
                <c:pt idx="66">
                  <c:v>1.1375650938930093</c:v>
                </c:pt>
                <c:pt idx="67">
                  <c:v>1.1042907606312147</c:v>
                </c:pt>
                <c:pt idx="68">
                  <c:v>1.2536868834847155</c:v>
                </c:pt>
                <c:pt idx="69">
                  <c:v>1.255954222084751</c:v>
                </c:pt>
                <c:pt idx="70">
                  <c:v>1.1241468538076305</c:v>
                </c:pt>
                <c:pt idx="71">
                  <c:v>1.1587847171436465</c:v>
                </c:pt>
                <c:pt idx="72">
                  <c:v>1.1157761718595742</c:v>
                </c:pt>
                <c:pt idx="73">
                  <c:v>1.286525234443665</c:v>
                </c:pt>
                <c:pt idx="74">
                  <c:v>1.263225356340302</c:v>
                </c:pt>
                <c:pt idx="75">
                  <c:v>1.2505110940965671</c:v>
                </c:pt>
                <c:pt idx="76">
                  <c:v>1.2784335108089038</c:v>
                </c:pt>
                <c:pt idx="77">
                  <c:v>1.3061154025277428</c:v>
                </c:pt>
                <c:pt idx="78">
                  <c:v>1.2580711527505222</c:v>
                </c:pt>
                <c:pt idx="79">
                  <c:v>1.041139214442788</c:v>
                </c:pt>
                <c:pt idx="80">
                  <c:v>1.1275938263195493</c:v>
                </c:pt>
                <c:pt idx="81">
                  <c:v>1.278689977441186</c:v>
                </c:pt>
                <c:pt idx="82">
                  <c:v>1.2842057006820229</c:v>
                </c:pt>
                <c:pt idx="83">
                  <c:v>1.2733208649145258</c:v>
                </c:pt>
                <c:pt idx="84">
                  <c:v>1.2445010643101335</c:v>
                </c:pt>
                <c:pt idx="85">
                  <c:v>1.1048931703903797</c:v>
                </c:pt>
                <c:pt idx="86">
                  <c:v>1.1914150462696627</c:v>
                </c:pt>
                <c:pt idx="87">
                  <c:v>1.2772750389499261</c:v>
                </c:pt>
                <c:pt idx="88">
                  <c:v>1.270203089046736</c:v>
                </c:pt>
                <c:pt idx="89">
                  <c:v>1.1904078922405616</c:v>
                </c:pt>
                <c:pt idx="90">
                  <c:v>1.3014732830022722</c:v>
                </c:pt>
                <c:pt idx="91">
                  <c:v>1.2663442493855246</c:v>
                </c:pt>
                <c:pt idx="92">
                  <c:v>1.2019821782822204</c:v>
                </c:pt>
                <c:pt idx="93">
                  <c:v>1.1473858245075956</c:v>
                </c:pt>
                <c:pt idx="94">
                  <c:v>1.281723606473157</c:v>
                </c:pt>
                <c:pt idx="95">
                  <c:v>1.2966446820273627</c:v>
                </c:pt>
                <c:pt idx="96">
                  <c:v>1.3125480081179202</c:v>
                </c:pt>
                <c:pt idx="97">
                  <c:v>1.3139417684066783</c:v>
                </c:pt>
                <c:pt idx="98">
                  <c:v>1.0830061510273523</c:v>
                </c:pt>
                <c:pt idx="99">
                  <c:v>1.308058261917951</c:v>
                </c:pt>
                <c:pt idx="100">
                  <c:v>1.3042957091834237</c:v>
                </c:pt>
                <c:pt idx="101">
                  <c:v>1.046316132637854</c:v>
                </c:pt>
                <c:pt idx="102">
                  <c:v>1.1525953515846123</c:v>
                </c:pt>
                <c:pt idx="103">
                  <c:v>1.311973073655316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3436121940308046</c:v>
                </c:pt>
                <c:pt idx="1">
                  <c:v>1.332188889971105</c:v>
                </c:pt>
                <c:pt idx="2">
                  <c:v>1.3883929310830283</c:v>
                </c:pt>
                <c:pt idx="3">
                  <c:v>1.282837573706946</c:v>
                </c:pt>
                <c:pt idx="4">
                  <c:v>1.2384588684484554</c:v>
                </c:pt>
                <c:pt idx="5">
                  <c:v>1.3270055619375045</c:v>
                </c:pt>
                <c:pt idx="6">
                  <c:v>1.2965287793365674</c:v>
                </c:pt>
                <c:pt idx="7">
                  <c:v>1.303983556012333</c:v>
                </c:pt>
                <c:pt idx="8">
                  <c:v>1.2103050480024775</c:v>
                </c:pt>
                <c:pt idx="9">
                  <c:v>1.2868813950710674</c:v>
                </c:pt>
                <c:pt idx="10">
                  <c:v>1.2740177356696774</c:v>
                </c:pt>
                <c:pt idx="11">
                  <c:v>1.1070144868978173</c:v>
                </c:pt>
                <c:pt idx="12">
                  <c:v>1.1085807673509285</c:v>
                </c:pt>
                <c:pt idx="13">
                  <c:v>1.2774056230200632</c:v>
                </c:pt>
                <c:pt idx="14">
                  <c:v>1.1823383700767895</c:v>
                </c:pt>
                <c:pt idx="15">
                  <c:v>1.0997285721974888</c:v>
                </c:pt>
                <c:pt idx="16">
                  <c:v>1.2952901702497825</c:v>
                </c:pt>
                <c:pt idx="17">
                  <c:v>1.2414834357095745</c:v>
                </c:pt>
                <c:pt idx="18">
                  <c:v>1.2538047314283902</c:v>
                </c:pt>
                <c:pt idx="19">
                  <c:v>1.1018606535018474</c:v>
                </c:pt>
                <c:pt idx="20">
                  <c:v>1.0966166553314922</c:v>
                </c:pt>
                <c:pt idx="21">
                  <c:v>1.319282798637115</c:v>
                </c:pt>
                <c:pt idx="22">
                  <c:v>1.2733643130320353</c:v>
                </c:pt>
                <c:pt idx="23">
                  <c:v>1.2484920932558283</c:v>
                </c:pt>
                <c:pt idx="24">
                  <c:v>1.2568474096682405</c:v>
                </c:pt>
                <c:pt idx="25">
                  <c:v>1.250431681832419</c:v>
                </c:pt>
                <c:pt idx="26">
                  <c:v>1.2284763078228655</c:v>
                </c:pt>
                <c:pt idx="27">
                  <c:v>1.1539466303389696</c:v>
                </c:pt>
                <c:pt idx="28">
                  <c:v>1.145601286068142</c:v>
                </c:pt>
                <c:pt idx="29">
                  <c:v>1.2709488290830897</c:v>
                </c:pt>
                <c:pt idx="30">
                  <c:v>1.2295620171691215</c:v>
                </c:pt>
                <c:pt idx="31">
                  <c:v>1.192174517941864</c:v>
                </c:pt>
                <c:pt idx="32">
                  <c:v>1.195744680851064</c:v>
                </c:pt>
                <c:pt idx="33">
                  <c:v>1.2320256758008947</c:v>
                </c:pt>
                <c:pt idx="34">
                  <c:v>1.1978539264320096</c:v>
                </c:pt>
                <c:pt idx="35">
                  <c:v>1.344167246463241</c:v>
                </c:pt>
                <c:pt idx="36">
                  <c:v>1.130326536010768</c:v>
                </c:pt>
                <c:pt idx="37">
                  <c:v>1.1876127237288</c:v>
                </c:pt>
                <c:pt idx="38">
                  <c:v>1.360111603641977</c:v>
                </c:pt>
                <c:pt idx="39">
                  <c:v>1.328754645781996</c:v>
                </c:pt>
                <c:pt idx="40">
                  <c:v>1.4255831846659848</c:v>
                </c:pt>
                <c:pt idx="41">
                  <c:v>1.3223525353570196</c:v>
                </c:pt>
                <c:pt idx="42">
                  <c:v>1.3338574978612456</c:v>
                </c:pt>
                <c:pt idx="43">
                  <c:v>1.3109628977466217</c:v>
                </c:pt>
                <c:pt idx="44">
                  <c:v>1.3161480699565773</c:v>
                </c:pt>
                <c:pt idx="45">
                  <c:v>1.2541388033160519</c:v>
                </c:pt>
                <c:pt idx="46">
                  <c:v>1.2185663384544654</c:v>
                </c:pt>
                <c:pt idx="47">
                  <c:v>1.4162566407846342</c:v>
                </c:pt>
                <c:pt idx="48">
                  <c:v>1.4337225618923524</c:v>
                </c:pt>
                <c:pt idx="49">
                  <c:v>1.3549611807866224</c:v>
                </c:pt>
                <c:pt idx="50">
                  <c:v>1.3815173099752944</c:v>
                </c:pt>
                <c:pt idx="51">
                  <c:v>1.3450999875791827</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31480047262</c:v>
                </c:pt>
                <c:pt idx="23">
                  <c:v>0.013951671410234946</c:v>
                </c:pt>
                <c:pt idx="24">
                  <c:v>0.016285300586309212</c:v>
                </c:pt>
                <c:pt idx="25">
                  <c:v>0.023162485219782515</c:v>
                </c:pt>
                <c:pt idx="26">
                  <c:v>0.01726092969110129</c:v>
                </c:pt>
                <c:pt idx="27">
                  <c:v>0.02212224293844631</c:v>
                </c:pt>
                <c:pt idx="28">
                  <c:v>0.0270796422100541</c:v>
                </c:pt>
                <c:pt idx="29">
                  <c:v>0.021287875016180586</c:v>
                </c:pt>
                <c:pt idx="30">
                  <c:v>0.01794075219393254</c:v>
                </c:pt>
                <c:pt idx="31">
                  <c:v>0.01815128588771085</c:v>
                </c:pt>
                <c:pt idx="32">
                  <c:v>0.02722889936763876</c:v>
                </c:pt>
                <c:pt idx="33">
                  <c:v>0.03242273139245778</c:v>
                </c:pt>
                <c:pt idx="34">
                  <c:v>0.02654277780711809</c:v>
                </c:pt>
                <c:pt idx="35">
                  <c:v>0.015661578110474195</c:v>
                </c:pt>
                <c:pt idx="36">
                  <c:v>0.025226537986722072</c:v>
                </c:pt>
                <c:pt idx="37">
                  <c:v>0.024393040748925787</c:v>
                </c:pt>
                <c:pt idx="38">
                  <c:v>0.014911469596569443</c:v>
                </c:pt>
                <c:pt idx="39">
                  <c:v>0.016686901040993983</c:v>
                </c:pt>
                <c:pt idx="40">
                  <c:v>0.02520423394287269</c:v>
                </c:pt>
                <c:pt idx="41">
                  <c:v>0.029172243693566597</c:v>
                </c:pt>
                <c:pt idx="42">
                  <c:v>0.01536564626860177</c:v>
                </c:pt>
                <c:pt idx="43">
                  <c:v>0.018159229438239152</c:v>
                </c:pt>
                <c:pt idx="44">
                  <c:v>0.015163661521597411</c:v>
                </c:pt>
                <c:pt idx="45">
                  <c:v>0.021231786451207452</c:v>
                </c:pt>
                <c:pt idx="46">
                  <c:v>0.016817703704584807</c:v>
                </c:pt>
                <c:pt idx="47">
                  <c:v>0.01102371987503255</c:v>
                </c:pt>
                <c:pt idx="48">
                  <c:v>0.011981754356366853</c:v>
                </c:pt>
                <c:pt idx="49">
                  <c:v>0.015019776013179971</c:v>
                </c:pt>
                <c:pt idx="50">
                  <c:v>0.012713907075700814</c:v>
                </c:pt>
                <c:pt idx="51">
                  <c:v>0.012885639793366169</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1726147127135687</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1726147127135687</c:v>
                </c:pt>
                <c:pt idx="1">
                  <c:v>1.1726147127135687</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1726147127135687</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1726147127135687</c:v>
                </c:pt>
                <c:pt idx="1">
                  <c:v>1.1726147127135687</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3486000772105409</c:v>
                </c:pt>
              </c:numCache>
            </c:numRef>
          </c:xVal>
          <c:yVal>
            <c:numRef>
              <c:f>Sheet1!$B$178:$B$179</c:f>
              <c:numCache>
                <c:formatCode>General</c:formatCode>
                <c:ptCount val="2"/>
                <c:pt idx="0">
                  <c:v>0.01703278485963925</c:v>
                </c:pt>
                <c:pt idx="1">
                  <c:v>0.01703278485963925</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3486000772105409</c:v>
                </c:pt>
                <c:pt idx="1">
                  <c:v>1.3486000772105409</c:v>
                </c:pt>
              </c:numCache>
            </c:numRef>
          </c:xVal>
          <c:yVal>
            <c:numRef>
              <c:f>Sheet1!$B$182:$B$183</c:f>
              <c:numCache>
                <c:formatCode>General</c:formatCode>
                <c:ptCount val="2"/>
                <c:pt idx="0">
                  <c:v>0.017032784859639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3436121940308046</c:v>
                </c:pt>
                <c:pt idx="1">
                  <c:v>1.332188889971105</c:v>
                </c:pt>
                <c:pt idx="2">
                  <c:v>1.3883929310830283</c:v>
                </c:pt>
                <c:pt idx="3">
                  <c:v>1.282837573706946</c:v>
                </c:pt>
                <c:pt idx="4">
                  <c:v>1.2384588684484554</c:v>
                </c:pt>
                <c:pt idx="5">
                  <c:v>1.3270055619375045</c:v>
                </c:pt>
                <c:pt idx="6">
                  <c:v>1.2965287793365674</c:v>
                </c:pt>
                <c:pt idx="7">
                  <c:v>1.303983556012333</c:v>
                </c:pt>
                <c:pt idx="8">
                  <c:v>1.2103050480024775</c:v>
                </c:pt>
                <c:pt idx="9">
                  <c:v>1.2868813950710674</c:v>
                </c:pt>
                <c:pt idx="10">
                  <c:v>1.2740177356696774</c:v>
                </c:pt>
                <c:pt idx="11">
                  <c:v>1.1070144868978173</c:v>
                </c:pt>
                <c:pt idx="12">
                  <c:v>1.1085807673509285</c:v>
                </c:pt>
                <c:pt idx="13">
                  <c:v>1.2774056230200632</c:v>
                </c:pt>
                <c:pt idx="14">
                  <c:v>1.1823383700767895</c:v>
                </c:pt>
                <c:pt idx="15">
                  <c:v>1.0997285721974888</c:v>
                </c:pt>
                <c:pt idx="16">
                  <c:v>1.2952901702497825</c:v>
                </c:pt>
                <c:pt idx="17">
                  <c:v>1.2414834357095745</c:v>
                </c:pt>
                <c:pt idx="18">
                  <c:v>1.2538047314283902</c:v>
                </c:pt>
                <c:pt idx="19">
                  <c:v>1.1018606535018474</c:v>
                </c:pt>
                <c:pt idx="20">
                  <c:v>1.0966166553314922</c:v>
                </c:pt>
                <c:pt idx="21">
                  <c:v>1.319282798637115</c:v>
                </c:pt>
                <c:pt idx="22">
                  <c:v>1.2733643130320353</c:v>
                </c:pt>
                <c:pt idx="23">
                  <c:v>1.2484920932558283</c:v>
                </c:pt>
                <c:pt idx="24">
                  <c:v>1.2568474096682405</c:v>
                </c:pt>
                <c:pt idx="25">
                  <c:v>1.250431681832419</c:v>
                </c:pt>
                <c:pt idx="26">
                  <c:v>1.2284763078228655</c:v>
                </c:pt>
                <c:pt idx="27">
                  <c:v>1.1539466303389696</c:v>
                </c:pt>
                <c:pt idx="28">
                  <c:v>1.145601286068142</c:v>
                </c:pt>
                <c:pt idx="29">
                  <c:v>1.2709488290830897</c:v>
                </c:pt>
                <c:pt idx="30">
                  <c:v>1.2295620171691215</c:v>
                </c:pt>
                <c:pt idx="31">
                  <c:v>1.192174517941864</c:v>
                </c:pt>
                <c:pt idx="32">
                  <c:v>1.195744680851064</c:v>
                </c:pt>
                <c:pt idx="33">
                  <c:v>1.2320256758008947</c:v>
                </c:pt>
                <c:pt idx="34">
                  <c:v>1.1978539264320096</c:v>
                </c:pt>
                <c:pt idx="35">
                  <c:v>1.344167246463241</c:v>
                </c:pt>
                <c:pt idx="36">
                  <c:v>1.130326536010768</c:v>
                </c:pt>
                <c:pt idx="37">
                  <c:v>1.1876127237288</c:v>
                </c:pt>
                <c:pt idx="38">
                  <c:v>1.360111603641977</c:v>
                </c:pt>
                <c:pt idx="39">
                  <c:v>1.328754645781996</c:v>
                </c:pt>
                <c:pt idx="40">
                  <c:v>1.4255831846659848</c:v>
                </c:pt>
                <c:pt idx="41">
                  <c:v>1.3223525353570196</c:v>
                </c:pt>
                <c:pt idx="42">
                  <c:v>1.3338574978612456</c:v>
                </c:pt>
                <c:pt idx="43">
                  <c:v>1.3109628977466217</c:v>
                </c:pt>
                <c:pt idx="44">
                  <c:v>1.3161480699565773</c:v>
                </c:pt>
                <c:pt idx="45">
                  <c:v>1.2541388033160519</c:v>
                </c:pt>
                <c:pt idx="46">
                  <c:v>1.2185663384544654</c:v>
                </c:pt>
                <c:pt idx="47">
                  <c:v>1.4162566407846342</c:v>
                </c:pt>
                <c:pt idx="48">
                  <c:v>1.4337225618923524</c:v>
                </c:pt>
                <c:pt idx="49">
                  <c:v>1.3549611807866224</c:v>
                </c:pt>
                <c:pt idx="50">
                  <c:v>1.3815173099752944</c:v>
                </c:pt>
                <c:pt idx="51">
                  <c:v>1.3450999875791827</c:v>
                </c:pt>
                <c:pt idx="52">
                  <c:v>1.1726147127135687</c:v>
                </c:pt>
                <c:pt idx="53">
                  <c:v>1.1726147127135687</c:v>
                </c:pt>
                <c:pt idx="54">
                  <c:v>1.3486000772105409</c:v>
                </c:pt>
              </c:numCache>
            </c:numRef>
          </c:xVal>
          <c:yVal>
            <c:numRef>
              <c:f>Sheet1!$B$186:$B$240</c:f>
              <c:numCache>
                <c:formatCode>General</c:formatCode>
                <c:ptCount val="55"/>
                <c:pt idx="0">
                  <c:v>0.01727266560345067</c:v>
                </c:pt>
                <c:pt idx="1">
                  <c:v>0.01782204308000368</c:v>
                </c:pt>
                <c:pt idx="2">
                  <c:v>0.015119039280333965</c:v>
                </c:pt>
                <c:pt idx="3">
                  <c:v>0.020195480874540213</c:v>
                </c:pt>
                <c:pt idx="4">
                  <c:v>0.02232977240527277</c:v>
                </c:pt>
                <c:pt idx="5">
                  <c:v>0.018071323293535946</c:v>
                </c:pt>
                <c:pt idx="6">
                  <c:v>0.019537033899789225</c:v>
                </c:pt>
                <c:pt idx="7">
                  <c:v>0.0191785135997959</c:v>
                </c:pt>
                <c:pt idx="8">
                  <c:v>0.02368376550141249</c:v>
                </c:pt>
                <c:pt idx="9">
                  <c:v>0.020001002607565793</c:v>
                </c:pt>
                <c:pt idx="10">
                  <c:v>0.02061965065407144</c:v>
                </c:pt>
                <c:pt idx="11">
                  <c:v>0.02865128693959399</c:v>
                </c:pt>
                <c:pt idx="12">
                  <c:v>0.02857596029168131</c:v>
                </c:pt>
                <c:pt idx="13">
                  <c:v>0.020456718021474612</c:v>
                </c:pt>
                <c:pt idx="14">
                  <c:v>0.025028758409426664</c:v>
                </c:pt>
                <c:pt idx="15">
                  <c:v>0.029001686212127432</c:v>
                </c:pt>
                <c:pt idx="16">
                  <c:v>0.019596601948663465</c:v>
                </c:pt>
                <c:pt idx="17">
                  <c:v>0.022184312814869274</c:v>
                </c:pt>
                <c:pt idx="18">
                  <c:v>0.02159174849945837</c:v>
                </c:pt>
                <c:pt idx="19">
                  <c:v>0.02889914867651839</c:v>
                </c:pt>
                <c:pt idx="20">
                  <c:v>0.029151346680425336</c:v>
                </c:pt>
                <c:pt idx="21">
                  <c:v>0.018442731792496614</c:v>
                </c:pt>
                <c:pt idx="22">
                  <c:v>0.020651075509604856</c:v>
                </c:pt>
                <c:pt idx="23">
                  <c:v>0.021847247586047343</c:v>
                </c:pt>
                <c:pt idx="24">
                  <c:v>0.02144541790328096</c:v>
                </c:pt>
                <c:pt idx="25">
                  <c:v>0.021753967544459574</c:v>
                </c:pt>
                <c:pt idx="26">
                  <c:v>0.022809860647462855</c:v>
                </c:pt>
                <c:pt idx="27">
                  <c:v>0.026394193685472682</c:v>
                </c:pt>
                <c:pt idx="28">
                  <c:v>0.02679554378107664</c:v>
                </c:pt>
                <c:pt idx="29">
                  <c:v>0.02076724264212545</c:v>
                </c:pt>
                <c:pt idx="30">
                  <c:v>0.02275764595915561</c:v>
                </c:pt>
                <c:pt idx="31">
                  <c:v>0.024555711551453155</c:v>
                </c:pt>
                <c:pt idx="32">
                  <c:v>0.02438401279602398</c:v>
                </c:pt>
                <c:pt idx="33">
                  <c:v>0.022639161976313327</c:v>
                </c:pt>
                <c:pt idx="34">
                  <c:v>0.024282573491893174</c:v>
                </c:pt>
                <c:pt idx="35">
                  <c:v>0.017245971636180524</c:v>
                </c:pt>
                <c:pt idx="36">
                  <c:v>0.027530147674804994</c:v>
                </c:pt>
                <c:pt idx="37">
                  <c:v>0.024775100528602836</c:v>
                </c:pt>
                <c:pt idx="38">
                  <c:v>0.01647916453148157</c:v>
                </c:pt>
                <c:pt idx="39">
                  <c:v>0.017987205137900364</c:v>
                </c:pt>
                <c:pt idx="40">
                  <c:v>0.013330459762622274</c:v>
                </c:pt>
                <c:pt idx="41">
                  <c:v>0.01829509988109429</c:v>
                </c:pt>
                <c:pt idx="42">
                  <c:v>0.017741795229885088</c:v>
                </c:pt>
                <c:pt idx="43">
                  <c:v>0.01884285824737368</c:v>
                </c:pt>
                <c:pt idx="44">
                  <c:v>0.018593489342430672</c:v>
                </c:pt>
                <c:pt idx="45">
                  <c:v>0.02157568208210034</c:v>
                </c:pt>
                <c:pt idx="46">
                  <c:v>0.023286457780470678</c:v>
                </c:pt>
                <c:pt idx="47">
                  <c:v>0.013778998391701908</c:v>
                </c:pt>
                <c:pt idx="48">
                  <c:v>0.012939015177240859</c:v>
                </c:pt>
                <c:pt idx="49">
                  <c:v>0.01672686224631681</c:v>
                </c:pt>
                <c:pt idx="50">
                  <c:v>0.015449706428311533</c:v>
                </c:pt>
                <c:pt idx="51">
                  <c:v>0.017201113602298618</c:v>
                </c:pt>
                <c:pt idx="52">
                  <c:v>0.025496395296018735</c:v>
                </c:pt>
                <c:pt idx="53">
                  <c:v>0.025496395296018735</c:v>
                </c:pt>
                <c:pt idx="54">
                  <c:v>0.01703278485963924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Soign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4.1311</c:v>
                </c:pt>
                <c:pt idx="1">
                  <c:v>14.5135</c:v>
                </c:pt>
                <c:pt idx="2">
                  <c:v>14.458</c:v>
                </c:pt>
                <c:pt idx="3">
                  <c:v>14.0664</c:v>
                </c:pt>
                <c:pt idx="4">
                  <c:v>13.9734</c:v>
                </c:pt>
                <c:pt idx="5">
                  <c:v>14.0094</c:v>
                </c:pt>
                <c:pt idx="6">
                  <c:v>13.8736</c:v>
                </c:pt>
                <c:pt idx="7">
                  <c:v>10.8247</c:v>
                </c:pt>
                <c:pt idx="8">
                  <c:v>13.8746</c:v>
                </c:pt>
                <c:pt idx="9">
                  <c:v>14.4651</c:v>
                </c:pt>
                <c:pt idx="10">
                  <c:v>14.4635</c:v>
                </c:pt>
                <c:pt idx="11">
                  <c:v>12.9158</c:v>
                </c:pt>
                <c:pt idx="12">
                  <c:v>12.5129</c:v>
                </c:pt>
                <c:pt idx="13">
                  <c:v>14.415</c:v>
                </c:pt>
                <c:pt idx="14">
                  <c:v>15.0078</c:v>
                </c:pt>
                <c:pt idx="15">
                  <c:v>15.1765</c:v>
                </c:pt>
                <c:pt idx="16">
                  <c:v>14.5182</c:v>
                </c:pt>
                <c:pt idx="17">
                  <c:v>14.5948</c:v>
                </c:pt>
                <c:pt idx="18">
                  <c:v>14.8373</c:v>
                </c:pt>
                <c:pt idx="19">
                  <c:v>14.6007</c:v>
                </c:pt>
                <c:pt idx="20">
                  <c:v>13.4956</c:v>
                </c:pt>
                <c:pt idx="21">
                  <c:v>14.3283</c:v>
                </c:pt>
                <c:pt idx="22">
                  <c:v>14.0516</c:v>
                </c:pt>
                <c:pt idx="23">
                  <c:v>14.4113</c:v>
                </c:pt>
                <c:pt idx="24">
                  <c:v>14.2702</c:v>
                </c:pt>
                <c:pt idx="25">
                  <c:v>14.45</c:v>
                </c:pt>
                <c:pt idx="26">
                  <c:v>14.2139</c:v>
                </c:pt>
                <c:pt idx="27">
                  <c:v>12.3248</c:v>
                </c:pt>
                <c:pt idx="28">
                  <c:v>12.8195</c:v>
                </c:pt>
                <c:pt idx="29">
                  <c:v>14.9857</c:v>
                </c:pt>
                <c:pt idx="30">
                  <c:v>15.1217</c:v>
                </c:pt>
                <c:pt idx="31">
                  <c:v>13.8895</c:v>
                </c:pt>
                <c:pt idx="32">
                  <c:v>13.6892</c:v>
                </c:pt>
                <c:pt idx="33">
                  <c:v>15.4179</c:v>
                </c:pt>
                <c:pt idx="34">
                  <c:v>13.1818</c:v>
                </c:pt>
                <c:pt idx="35">
                  <c:v>13.305</c:v>
                </c:pt>
                <c:pt idx="36">
                  <c:v>15.3387</c:v>
                </c:pt>
                <c:pt idx="37">
                  <c:v>15.5086</c:v>
                </c:pt>
                <c:pt idx="38">
                  <c:v>16.2526</c:v>
                </c:pt>
                <c:pt idx="39">
                  <c:v>15.6095</c:v>
                </c:pt>
                <c:pt idx="40">
                  <c:v>15.8886</c:v>
                </c:pt>
                <c:pt idx="41">
                  <c:v>15.4442</c:v>
                </c:pt>
                <c:pt idx="42">
                  <c:v>13.9071</c:v>
                </c:pt>
                <c:pt idx="43">
                  <c:v>15.9194</c:v>
                </c:pt>
                <c:pt idx="44">
                  <c:v>16.0103</c:v>
                </c:pt>
                <c:pt idx="45">
                  <c:v>16.1111</c:v>
                </c:pt>
                <c:pt idx="46">
                  <c:v>16.3048</c:v>
                </c:pt>
                <c:pt idx="47">
                  <c:v>15.8923</c:v>
                </c:pt>
                <c:pt idx="48">
                  <c:v>16.8504</c:v>
                </c:pt>
                <c:pt idx="49">
                  <c:v>16.2164</c:v>
                </c:pt>
                <c:pt idx="50">
                  <c:v>16.2952</c:v>
                </c:pt>
                <c:pt idx="51">
                  <c:v>16.8301</c:v>
                </c:pt>
                <c:pt idx="52">
                  <c:v>16.3865</c:v>
                </c:pt>
                <c:pt idx="53">
                  <c:v>16.4316</c:v>
                </c:pt>
                <c:pt idx="54">
                  <c:v>16.2607</c:v>
                </c:pt>
                <c:pt idx="55">
                  <c:v>16.3036</c:v>
                </c:pt>
                <c:pt idx="56">
                  <c:v>16.128</c:v>
                </c:pt>
                <c:pt idx="57">
                  <c:v>16.5169</c:v>
                </c:pt>
                <c:pt idx="58">
                  <c:v>16.4224</c:v>
                </c:pt>
                <c:pt idx="59">
                  <c:v>15.9404</c:v>
                </c:pt>
                <c:pt idx="60">
                  <c:v>16.501</c:v>
                </c:pt>
                <c:pt idx="61">
                  <c:v>15.984</c:v>
                </c:pt>
                <c:pt idx="62">
                  <c:v>15.8963</c:v>
                </c:pt>
                <c:pt idx="63">
                  <c:v>13.38</c:v>
                </c:pt>
                <c:pt idx="64">
                  <c:v>14.5733</c:v>
                </c:pt>
                <c:pt idx="65">
                  <c:v>15.5397</c:v>
                </c:pt>
                <c:pt idx="66">
                  <c:v>14.4175</c:v>
                </c:pt>
                <c:pt idx="67">
                  <c:v>13.8488</c:v>
                </c:pt>
                <c:pt idx="68">
                  <c:v>15.4038</c:v>
                </c:pt>
                <c:pt idx="69">
                  <c:v>15.4299</c:v>
                </c:pt>
                <c:pt idx="70">
                  <c:v>15.4659</c:v>
                </c:pt>
                <c:pt idx="71">
                  <c:v>14.2607</c:v>
                </c:pt>
                <c:pt idx="72">
                  <c:v>14.1274</c:v>
                </c:pt>
                <c:pt idx="73">
                  <c:v>15.9551</c:v>
                </c:pt>
                <c:pt idx="74">
                  <c:v>15.5714</c:v>
                </c:pt>
                <c:pt idx="75">
                  <c:v>15.8426</c:v>
                </c:pt>
                <c:pt idx="76">
                  <c:v>15.9436</c:v>
                </c:pt>
                <c:pt idx="77">
                  <c:v>16.2661</c:v>
                </c:pt>
                <c:pt idx="78">
                  <c:v>15.899</c:v>
                </c:pt>
                <c:pt idx="79">
                  <c:v>12.6412</c:v>
                </c:pt>
                <c:pt idx="80">
                  <c:v>13.5742</c:v>
                </c:pt>
                <c:pt idx="81">
                  <c:v>15.8711</c:v>
                </c:pt>
                <c:pt idx="82">
                  <c:v>15.9673</c:v>
                </c:pt>
                <c:pt idx="83">
                  <c:v>15.5228</c:v>
                </c:pt>
                <c:pt idx="84">
                  <c:v>15.4348</c:v>
                </c:pt>
                <c:pt idx="85">
                  <c:v>13.5798</c:v>
                </c:pt>
                <c:pt idx="86">
                  <c:v>14.4969</c:v>
                </c:pt>
                <c:pt idx="87">
                  <c:v>15.8225</c:v>
                </c:pt>
                <c:pt idx="88">
                  <c:v>16.5054</c:v>
                </c:pt>
                <c:pt idx="89">
                  <c:v>15.6866</c:v>
                </c:pt>
                <c:pt idx="90">
                  <c:v>15.9804</c:v>
                </c:pt>
                <c:pt idx="91">
                  <c:v>15.9201</c:v>
                </c:pt>
                <c:pt idx="92">
                  <c:v>14.7839</c:v>
                </c:pt>
                <c:pt idx="93">
                  <c:v>14.3655</c:v>
                </c:pt>
                <c:pt idx="94">
                  <c:v>15.9672</c:v>
                </c:pt>
                <c:pt idx="95">
                  <c:v>16.6519</c:v>
                </c:pt>
                <c:pt idx="96">
                  <c:v>16.2332</c:v>
                </c:pt>
                <c:pt idx="97">
                  <c:v>16.1649</c:v>
                </c:pt>
                <c:pt idx="98">
                  <c:v>13.2404</c:v>
                </c:pt>
                <c:pt idx="99">
                  <c:v>16.0572</c:v>
                </c:pt>
                <c:pt idx="100">
                  <c:v>15.9951</c:v>
                </c:pt>
                <c:pt idx="101">
                  <c:v>13.4799</c:v>
                </c:pt>
                <c:pt idx="102">
                  <c:v>14.0491</c:v>
                </c:pt>
                <c:pt idx="103">
                  <c:v>16.059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31480047262</c:v>
                </c:pt>
                <c:pt idx="23">
                  <c:v>0.013951671410234946</c:v>
                </c:pt>
                <c:pt idx="24">
                  <c:v>0.016285300586309212</c:v>
                </c:pt>
                <c:pt idx="25">
                  <c:v>0.023162485219782515</c:v>
                </c:pt>
                <c:pt idx="26">
                  <c:v>0.01726092969110129</c:v>
                </c:pt>
                <c:pt idx="27">
                  <c:v>0.02212224293844631</c:v>
                </c:pt>
                <c:pt idx="28">
                  <c:v>0.0270796422100541</c:v>
                </c:pt>
                <c:pt idx="29">
                  <c:v>0.021287875016180586</c:v>
                </c:pt>
                <c:pt idx="30">
                  <c:v>0.01794075219393254</c:v>
                </c:pt>
                <c:pt idx="31">
                  <c:v>0.01815128588771085</c:v>
                </c:pt>
                <c:pt idx="32">
                  <c:v>0.02722889936763876</c:v>
                </c:pt>
                <c:pt idx="33">
                  <c:v>0.03242273139245778</c:v>
                </c:pt>
                <c:pt idx="34">
                  <c:v>0.02654277780711809</c:v>
                </c:pt>
                <c:pt idx="35">
                  <c:v>0.015661578110474195</c:v>
                </c:pt>
                <c:pt idx="36">
                  <c:v>0.025226537986722072</c:v>
                </c:pt>
                <c:pt idx="37">
                  <c:v>0.024393040748925787</c:v>
                </c:pt>
                <c:pt idx="38">
                  <c:v>0.014911469596569443</c:v>
                </c:pt>
                <c:pt idx="39">
                  <c:v>0.016686901040993983</c:v>
                </c:pt>
                <c:pt idx="40">
                  <c:v>0.02520423394287269</c:v>
                </c:pt>
                <c:pt idx="41">
                  <c:v>0.029172243693566597</c:v>
                </c:pt>
                <c:pt idx="42">
                  <c:v>0.01536564626860177</c:v>
                </c:pt>
                <c:pt idx="43">
                  <c:v>0.018159229438239152</c:v>
                </c:pt>
                <c:pt idx="44">
                  <c:v>0.015163661521597411</c:v>
                </c:pt>
                <c:pt idx="45">
                  <c:v>0.021231786451207452</c:v>
                </c:pt>
                <c:pt idx="46">
                  <c:v>0.016817703704584807</c:v>
                </c:pt>
                <c:pt idx="47">
                  <c:v>0.01102371987503255</c:v>
                </c:pt>
                <c:pt idx="48">
                  <c:v>0.011981754356366853</c:v>
                </c:pt>
                <c:pt idx="49">
                  <c:v>0.015019776013179971</c:v>
                </c:pt>
                <c:pt idx="50">
                  <c:v>0.012713907075700814</c:v>
                </c:pt>
                <c:pt idx="51">
                  <c:v>0.012885639793366169</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14.703420120939176</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14.703420120939176</c:v>
                </c:pt>
                <c:pt idx="1">
                  <c:v>14.703420120939176</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4.703420120939176</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4.703420120939176</c:v>
                </c:pt>
                <c:pt idx="1">
                  <c:v>14.703420120939176</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6.334750400195393</c:v>
                </c:pt>
              </c:numCache>
            </c:numRef>
          </c:xVal>
          <c:yVal>
            <c:numRef>
              <c:f>Sheet1!$B$178:$B$179</c:f>
              <c:numCache>
                <c:formatCode>General</c:formatCode>
                <c:ptCount val="2"/>
                <c:pt idx="0">
                  <c:v>0.01703278485963925</c:v>
                </c:pt>
                <c:pt idx="1">
                  <c:v>0.01703278485963925</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6.334750400195393</c:v>
                </c:pt>
                <c:pt idx="1">
                  <c:v>16.334750400195393</c:v>
                </c:pt>
              </c:numCache>
            </c:numRef>
          </c:xVal>
          <c:yVal>
            <c:numRef>
              <c:f>Sheet1!$B$182:$B$183</c:f>
              <c:numCache>
                <c:formatCode>General</c:formatCode>
                <c:ptCount val="2"/>
                <c:pt idx="0">
                  <c:v>0.017032784859639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pt idx="52">
                  <c:v>14.703420120939176</c:v>
                </c:pt>
                <c:pt idx="53">
                  <c:v>14.703420120939176</c:v>
                </c:pt>
                <c:pt idx="54">
                  <c:v>16.334750400195393</c:v>
                </c:pt>
              </c:numCache>
            </c:numRef>
          </c:xVal>
          <c:yVal>
            <c:numRef>
              <c:f>Sheet1!$B$186:$B$240</c:f>
              <c:numCache>
                <c:formatCode>General</c:formatCode>
                <c:ptCount val="55"/>
                <c:pt idx="0">
                  <c:v>0.014521455733510671</c:v>
                </c:pt>
                <c:pt idx="1">
                  <c:v>0.01662629421882629</c:v>
                </c:pt>
                <c:pt idx="2">
                  <c:v>0.01479850373724706</c:v>
                </c:pt>
                <c:pt idx="3">
                  <c:v>0.020737914873528357</c:v>
                </c:pt>
                <c:pt idx="4">
                  <c:v>0.020330125115219727</c:v>
                </c:pt>
                <c:pt idx="5">
                  <c:v>0.01847431854337503</c:v>
                </c:pt>
                <c:pt idx="6">
                  <c:v>0.01969405610289611</c:v>
                </c:pt>
                <c:pt idx="7">
                  <c:v>0.019497424654551357</c:v>
                </c:pt>
                <c:pt idx="8">
                  <c:v>0.020677213344619805</c:v>
                </c:pt>
                <c:pt idx="9">
                  <c:v>0.017932674131575788</c:v>
                </c:pt>
                <c:pt idx="10">
                  <c:v>0.021131177770217835</c:v>
                </c:pt>
                <c:pt idx="11">
                  <c:v>0.03355060682160686</c:v>
                </c:pt>
                <c:pt idx="12">
                  <c:v>0.026467724149304955</c:v>
                </c:pt>
                <c:pt idx="13">
                  <c:v>0.02144558056097487</c:v>
                </c:pt>
                <c:pt idx="14">
                  <c:v>0.027489273811022105</c:v>
                </c:pt>
                <c:pt idx="15">
                  <c:v>0.027577472613709714</c:v>
                </c:pt>
                <c:pt idx="16">
                  <c:v>0.020664242932459873</c:v>
                </c:pt>
                <c:pt idx="17">
                  <c:v>0.020724425644882</c:v>
                </c:pt>
                <c:pt idx="18">
                  <c:v>0.019757351714236634</c:v>
                </c:pt>
                <c:pt idx="19">
                  <c:v>0.032620887677982116</c:v>
                </c:pt>
                <c:pt idx="20">
                  <c:v>0.03234695257316411</c:v>
                </c:pt>
                <c:pt idx="21">
                  <c:v>0.020621699980575253</c:v>
                </c:pt>
                <c:pt idx="22">
                  <c:v>0.021455956890702815</c:v>
                </c:pt>
                <c:pt idx="23">
                  <c:v>0.018874844870874083</c:v>
                </c:pt>
                <c:pt idx="24">
                  <c:v>0.019740230770185496</c:v>
                </c:pt>
                <c:pt idx="25">
                  <c:v>0.021003030098077594</c:v>
                </c:pt>
                <c:pt idx="26">
                  <c:v>0.02367182210410755</c:v>
                </c:pt>
                <c:pt idx="27">
                  <c:v>0.027070070090012735</c:v>
                </c:pt>
                <c:pt idx="28">
                  <c:v>0.029314989026655747</c:v>
                </c:pt>
                <c:pt idx="29">
                  <c:v>0.02327855920741806</c:v>
                </c:pt>
                <c:pt idx="30">
                  <c:v>0.023086078290964512</c:v>
                </c:pt>
                <c:pt idx="31">
                  <c:v>0.022646121910499223</c:v>
                </c:pt>
                <c:pt idx="32">
                  <c:v>0.02320073673445841</c:v>
                </c:pt>
                <c:pt idx="33">
                  <c:v>0.025900657729672233</c:v>
                </c:pt>
                <c:pt idx="34">
                  <c:v>0.025735674086997756</c:v>
                </c:pt>
                <c:pt idx="35">
                  <c:v>0.0175845482692029</c:v>
                </c:pt>
                <c:pt idx="36">
                  <c:v>0.026405466170937225</c:v>
                </c:pt>
                <c:pt idx="37">
                  <c:v>0.025597150085129555</c:v>
                </c:pt>
                <c:pt idx="38">
                  <c:v>0.016295808116990926</c:v>
                </c:pt>
                <c:pt idx="39">
                  <c:v>0.017013331317679</c:v>
                </c:pt>
                <c:pt idx="40">
                  <c:v>0.014303552809223616</c:v>
                </c:pt>
                <c:pt idx="41">
                  <c:v>0.018247076922332822</c:v>
                </c:pt>
                <c:pt idx="42">
                  <c:v>0.016844197143113346</c:v>
                </c:pt>
                <c:pt idx="43">
                  <c:v>0.01989224400070004</c:v>
                </c:pt>
                <c:pt idx="44">
                  <c:v>0.016391789166974507</c:v>
                </c:pt>
                <c:pt idx="45">
                  <c:v>0.023842512728132412</c:v>
                </c:pt>
                <c:pt idx="46">
                  <c:v>0.019273295932427534</c:v>
                </c:pt>
                <c:pt idx="47">
                  <c:v>0.011880161001259784</c:v>
                </c:pt>
                <c:pt idx="48">
                  <c:v>0.012724794241115306</c:v>
                </c:pt>
                <c:pt idx="49">
                  <c:v>0.01938432266051665</c:v>
                </c:pt>
                <c:pt idx="50">
                  <c:v>0.012423880679004615</c:v>
                </c:pt>
                <c:pt idx="51">
                  <c:v>0.017503094080838458</c:v>
                </c:pt>
                <c:pt idx="52">
                  <c:v>0.02549639529601873</c:v>
                </c:pt>
                <c:pt idx="53">
                  <c:v>0.02549639529601873</c:v>
                </c:pt>
                <c:pt idx="54">
                  <c:v>0.0170327848596392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0"/>
          <c:min val="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7840677809300604</c:v>
                </c:pt>
                <c:pt idx="1">
                  <c:v>0.6608786270231544</c:v>
                </c:pt>
                <c:pt idx="2">
                  <c:v>0.7056855723050443</c:v>
                </c:pt>
                <c:pt idx="3">
                  <c:v>0.6567585710075641</c:v>
                </c:pt>
                <c:pt idx="4">
                  <c:v>0.746648424597649</c:v>
                </c:pt>
                <c:pt idx="5">
                  <c:v>0.6267444055588632</c:v>
                </c:pt>
                <c:pt idx="6">
                  <c:v>0.5409175785307783</c:v>
                </c:pt>
                <c:pt idx="7">
                  <c:v>0.5875463648591731</c:v>
                </c:pt>
                <c:pt idx="8">
                  <c:v>0.5897944489934211</c:v>
                </c:pt>
                <c:pt idx="9">
                  <c:v>0.7506280248087541</c:v>
                </c:pt>
                <c:pt idx="10">
                  <c:v>0.6744444814605057</c:v>
                </c:pt>
                <c:pt idx="11">
                  <c:v>0.6425656420769362</c:v>
                </c:pt>
                <c:pt idx="12">
                  <c:v>0.6393658197697499</c:v>
                </c:pt>
                <c:pt idx="13">
                  <c:v>0.6282151151362487</c:v>
                </c:pt>
                <c:pt idx="14">
                  <c:v>0.604402360120855</c:v>
                </c:pt>
                <c:pt idx="15">
                  <c:v>0.6418158392141218</c:v>
                </c:pt>
                <c:pt idx="16">
                  <c:v>0.6425161657167794</c:v>
                </c:pt>
                <c:pt idx="17">
                  <c:v>0.6772112397053037</c:v>
                </c:pt>
                <c:pt idx="18">
                  <c:v>0.7329421265939081</c:v>
                </c:pt>
                <c:pt idx="19">
                  <c:v>0.6528124648069267</c:v>
                </c:pt>
                <c:pt idx="20">
                  <c:v>0.6924685235640408</c:v>
                </c:pt>
                <c:pt idx="21">
                  <c:v>0.6822511041968988</c:v>
                </c:pt>
                <c:pt idx="22">
                  <c:v>0.6343856416258382</c:v>
                </c:pt>
                <c:pt idx="23">
                  <c:v>0.6099050757895597</c:v>
                </c:pt>
                <c:pt idx="24">
                  <c:v>0.5714480470791393</c:v>
                </c:pt>
                <c:pt idx="25">
                  <c:v>0.6413959911796797</c:v>
                </c:pt>
                <c:pt idx="26">
                  <c:v>0.6450599426392181</c:v>
                </c:pt>
                <c:pt idx="27">
                  <c:v>0.5999092263290196</c:v>
                </c:pt>
                <c:pt idx="28">
                  <c:v>0.7001141930968432</c:v>
                </c:pt>
                <c:pt idx="29">
                  <c:v>0.6862540501949584</c:v>
                </c:pt>
                <c:pt idx="30">
                  <c:v>0.7406959838371632</c:v>
                </c:pt>
                <c:pt idx="31">
                  <c:v>0.637614281814126</c:v>
                </c:pt>
                <c:pt idx="32">
                  <c:v>0.4900607132027021</c:v>
                </c:pt>
                <c:pt idx="33">
                  <c:v>0.4714628092621616</c:v>
                </c:pt>
                <c:pt idx="34">
                  <c:v>0.5556213755689968</c:v>
                </c:pt>
                <c:pt idx="35">
                  <c:v>0.5920974292771205</c:v>
                </c:pt>
                <c:pt idx="36">
                  <c:v>0.7809956007658467</c:v>
                </c:pt>
                <c:pt idx="37">
                  <c:v>0.8070510449766399</c:v>
                </c:pt>
                <c:pt idx="38">
                  <c:v>0.6698207964330773</c:v>
                </c:pt>
                <c:pt idx="39">
                  <c:v>0.6950545609289035</c:v>
                </c:pt>
                <c:pt idx="40">
                  <c:v>0.6648957077721294</c:v>
                </c:pt>
                <c:pt idx="41">
                  <c:v>0.6211967763517287</c:v>
                </c:pt>
                <c:pt idx="42">
                  <c:v>0.6428809112433609</c:v>
                </c:pt>
                <c:pt idx="43">
                  <c:v>0.670268660363814</c:v>
                </c:pt>
                <c:pt idx="44">
                  <c:v>0.6063440638920792</c:v>
                </c:pt>
                <c:pt idx="45">
                  <c:v>0.5856041884537757</c:v>
                </c:pt>
                <c:pt idx="46">
                  <c:v>0.6797508106967195</c:v>
                </c:pt>
                <c:pt idx="47">
                  <c:v>0.6924635829122053</c:v>
                </c:pt>
                <c:pt idx="48">
                  <c:v>0.6323244260357745</c:v>
                </c:pt>
                <c:pt idx="49">
                  <c:v>0.6132728838811807</c:v>
                </c:pt>
                <c:pt idx="50">
                  <c:v>0.6031409492150563</c:v>
                </c:pt>
                <c:pt idx="51">
                  <c:v>0.7701655656145502</c:v>
                </c:pt>
                <c:pt idx="52">
                  <c:v>0.6765334909425478</c:v>
                </c:pt>
                <c:pt idx="53">
                  <c:v>0.6193735703977503</c:v>
                </c:pt>
                <c:pt idx="54">
                  <c:v>0.6662722908093279</c:v>
                </c:pt>
                <c:pt idx="55">
                  <c:v>0.6823974973568729</c:v>
                </c:pt>
                <c:pt idx="56">
                  <c:v>0.6570270946496742</c:v>
                </c:pt>
                <c:pt idx="57">
                  <c:v>0.6767200480939861</c:v>
                </c:pt>
                <c:pt idx="58">
                  <c:v>0.6836319102275641</c:v>
                </c:pt>
                <c:pt idx="59">
                  <c:v>0.7524277647687558</c:v>
                </c:pt>
                <c:pt idx="60">
                  <c:v>0.6089388321930461</c:v>
                </c:pt>
                <c:pt idx="61">
                  <c:v>0.719521143385813</c:v>
                </c:pt>
                <c:pt idx="62">
                  <c:v>0.6642951407064445</c:v>
                </c:pt>
                <c:pt idx="63">
                  <c:v>0.6812994744596956</c:v>
                </c:pt>
                <c:pt idx="64">
                  <c:v>0.6648149475545361</c:v>
                </c:pt>
                <c:pt idx="65">
                  <c:v>0.6189671001789973</c:v>
                </c:pt>
                <c:pt idx="66">
                  <c:v>0.5613873622761576</c:v>
                </c:pt>
                <c:pt idx="67">
                  <c:v>0.6808152425216082</c:v>
                </c:pt>
                <c:pt idx="68">
                  <c:v>0.669305702941492</c:v>
                </c:pt>
                <c:pt idx="69">
                  <c:v>0.714186323273626</c:v>
                </c:pt>
                <c:pt idx="70">
                  <c:v>0.6533490767315302</c:v>
                </c:pt>
                <c:pt idx="71">
                  <c:v>0.7114074054970633</c:v>
                </c:pt>
                <c:pt idx="72">
                  <c:v>0.7001142303728628</c:v>
                </c:pt>
                <c:pt idx="73">
                  <c:v>0.6338143719056762</c:v>
                </c:pt>
                <c:pt idx="74">
                  <c:v>0.5239051484725487</c:v>
                </c:pt>
                <c:pt idx="75">
                  <c:v>0.5861597451295498</c:v>
                </c:pt>
                <c:pt idx="76">
                  <c:v>0.6932117566924985</c:v>
                </c:pt>
                <c:pt idx="77">
                  <c:v>0.6471319581802769</c:v>
                </c:pt>
                <c:pt idx="78">
                  <c:v>0.6320495224223411</c:v>
                </c:pt>
                <c:pt idx="79">
                  <c:v>0.5080732218418607</c:v>
                </c:pt>
                <c:pt idx="80">
                  <c:v>0.5480573910201032</c:v>
                </c:pt>
                <c:pt idx="81">
                  <c:v>0.5844089071697043</c:v>
                </c:pt>
                <c:pt idx="82">
                  <c:v>0.554922388477136</c:v>
                </c:pt>
                <c:pt idx="83">
                  <c:v>0.5501855800363263</c:v>
                </c:pt>
                <c:pt idx="84">
                  <c:v>0.5498930838398078</c:v>
                </c:pt>
                <c:pt idx="85">
                  <c:v>0.5720324542155203</c:v>
                </c:pt>
                <c:pt idx="86">
                  <c:v>0.7467255650959672</c:v>
                </c:pt>
                <c:pt idx="87">
                  <c:v>0.6344202898550725</c:v>
                </c:pt>
                <c:pt idx="88">
                  <c:v>0.6069342612153598</c:v>
                </c:pt>
                <c:pt idx="89">
                  <c:v>0.860102501387872</c:v>
                </c:pt>
                <c:pt idx="90">
                  <c:v>0.7208262267762053</c:v>
                </c:pt>
                <c:pt idx="91">
                  <c:v>0.6662366999088728</c:v>
                </c:pt>
                <c:pt idx="92">
                  <c:v>0.7073280031867067</c:v>
                </c:pt>
                <c:pt idx="93">
                  <c:v>0.6775579543443638</c:v>
                </c:pt>
                <c:pt idx="94">
                  <c:v>0.6376298759893779</c:v>
                </c:pt>
                <c:pt idx="95">
                  <c:v>0.5960615122914837</c:v>
                </c:pt>
                <c:pt idx="96">
                  <c:v>0.5467190269422609</c:v>
                </c:pt>
                <c:pt idx="97">
                  <c:v>0.6510101306997433</c:v>
                </c:pt>
                <c:pt idx="98">
                  <c:v>0.5992569173014637</c:v>
                </c:pt>
                <c:pt idx="99">
                  <c:v>0.6638267497904443</c:v>
                </c:pt>
                <c:pt idx="100">
                  <c:v>0.5424947914005598</c:v>
                </c:pt>
                <c:pt idx="101">
                  <c:v>0.5689773507206588</c:v>
                </c:pt>
                <c:pt idx="102">
                  <c:v>0.5503050471436495</c:v>
                </c:pt>
                <c:pt idx="103">
                  <c:v>0.6204671152288018</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6402779165662491</c:v>
                </c:pt>
                <c:pt idx="1">
                  <c:v>0.5851761779742988</c:v>
                </c:pt>
                <c:pt idx="2">
                  <c:v>0.631361626371102</c:v>
                </c:pt>
                <c:pt idx="3">
                  <c:v>0.5623983251535848</c:v>
                </c:pt>
                <c:pt idx="4">
                  <c:v>0.6033517530073799</c:v>
                </c:pt>
                <c:pt idx="5">
                  <c:v>0.6533194574032872</c:v>
                </c:pt>
                <c:pt idx="6">
                  <c:v>0.6493622031791718</c:v>
                </c:pt>
                <c:pt idx="7">
                  <c:v>0.6148635474517746</c:v>
                </c:pt>
                <c:pt idx="8">
                  <c:v>0.6972433236218301</c:v>
                </c:pt>
                <c:pt idx="9">
                  <c:v>0.5575379060312055</c:v>
                </c:pt>
                <c:pt idx="10">
                  <c:v>0.6070993959686996</c:v>
                </c:pt>
                <c:pt idx="11">
                  <c:v>0.6833391577843789</c:v>
                </c:pt>
                <c:pt idx="12">
                  <c:v>0.6470067940007691</c:v>
                </c:pt>
                <c:pt idx="13">
                  <c:v>0.5940157958687728</c:v>
                </c:pt>
                <c:pt idx="14">
                  <c:v>0.6123591149706423</c:v>
                </c:pt>
                <c:pt idx="15">
                  <c:v>0.6227645305514157</c:v>
                </c:pt>
                <c:pt idx="16">
                  <c:v>0.6757299216526306</c:v>
                </c:pt>
                <c:pt idx="17">
                  <c:v>0.668715958918026</c:v>
                </c:pt>
                <c:pt idx="18">
                  <c:v>0.6852382088602561</c:v>
                </c:pt>
                <c:pt idx="19">
                  <c:v>0.7238717670313761</c:v>
                </c:pt>
                <c:pt idx="20">
                  <c:v>0.6080698248501235</c:v>
                </c:pt>
                <c:pt idx="21">
                  <c:v>0.6234660555714695</c:v>
                </c:pt>
                <c:pt idx="22">
                  <c:v>0.6510734202086162</c:v>
                </c:pt>
                <c:pt idx="23">
                  <c:v>0.610050465310276</c:v>
                </c:pt>
                <c:pt idx="24">
                  <c:v>0.6181571545718599</c:v>
                </c:pt>
                <c:pt idx="25">
                  <c:v>0.6239323091274815</c:v>
                </c:pt>
                <c:pt idx="26">
                  <c:v>0.6438387540082455</c:v>
                </c:pt>
                <c:pt idx="27">
                  <c:v>0.6801316938789224</c:v>
                </c:pt>
                <c:pt idx="28">
                  <c:v>0.6944531286376608</c:v>
                </c:pt>
                <c:pt idx="29">
                  <c:v>0.46357818103443116</c:v>
                </c:pt>
                <c:pt idx="30">
                  <c:v>0.4294609470653769</c:v>
                </c:pt>
                <c:pt idx="31">
                  <c:v>0.4505949940753304</c:v>
                </c:pt>
                <c:pt idx="32">
                  <c:v>0.46736996913884044</c:v>
                </c:pt>
                <c:pt idx="33">
                  <c:v>0.6204234448194377</c:v>
                </c:pt>
                <c:pt idx="34">
                  <c:v>0.6081901382144191</c:v>
                </c:pt>
                <c:pt idx="35">
                  <c:v>0.5845279607387317</c:v>
                </c:pt>
                <c:pt idx="36">
                  <c:v>0.555347478834696</c:v>
                </c:pt>
                <c:pt idx="37">
                  <c:v>0.557270240947516</c:v>
                </c:pt>
                <c:pt idx="38">
                  <c:v>0.6428840770153688</c:v>
                </c:pt>
                <c:pt idx="39">
                  <c:v>0.6289288390370018</c:v>
                </c:pt>
                <c:pt idx="40">
                  <c:v>0.5517999585338441</c:v>
                </c:pt>
                <c:pt idx="41">
                  <c:v>0.5723301524540928</c:v>
                </c:pt>
                <c:pt idx="42">
                  <c:v>0.5690377977944271</c:v>
                </c:pt>
                <c:pt idx="43">
                  <c:v>0.5313442021346311</c:v>
                </c:pt>
                <c:pt idx="44">
                  <c:v>0.5524242249956864</c:v>
                </c:pt>
                <c:pt idx="45">
                  <c:v>0.6686492696953731</c:v>
                </c:pt>
                <c:pt idx="46">
                  <c:v>0.6851601704482423</c:v>
                </c:pt>
                <c:pt idx="47">
                  <c:v>0.6311495802403421</c:v>
                </c:pt>
                <c:pt idx="48">
                  <c:v>0.6035289196486292</c:v>
                </c:pt>
                <c:pt idx="49">
                  <c:v>0.6291532262660572</c:v>
                </c:pt>
                <c:pt idx="50">
                  <c:v>0.5045702560276081</c:v>
                </c:pt>
                <c:pt idx="51">
                  <c:v>0.5680004986287709</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5424649656086686</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5424649656086686</c:v>
                </c:pt>
                <c:pt idx="1">
                  <c:v>0.5424649656086686</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5424649656086686</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5424649656086686</c:v>
                </c:pt>
                <c:pt idx="1">
                  <c:v>0.5424649656086686</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632680261150021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6326802611500213</c:v>
                </c:pt>
                <c:pt idx="1">
                  <c:v>0.632680261150021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6402779165662491</c:v>
                </c:pt>
                <c:pt idx="1">
                  <c:v>0.5851761779742988</c:v>
                </c:pt>
                <c:pt idx="2">
                  <c:v>0.631361626371102</c:v>
                </c:pt>
                <c:pt idx="3">
                  <c:v>0.5623983251535848</c:v>
                </c:pt>
                <c:pt idx="4">
                  <c:v>0.6033517530073799</c:v>
                </c:pt>
                <c:pt idx="5">
                  <c:v>0.6533194574032872</c:v>
                </c:pt>
                <c:pt idx="6">
                  <c:v>0.6493622031791718</c:v>
                </c:pt>
                <c:pt idx="7">
                  <c:v>0.6148635474517746</c:v>
                </c:pt>
                <c:pt idx="8">
                  <c:v>0.6972433236218301</c:v>
                </c:pt>
                <c:pt idx="9">
                  <c:v>0.5575379060312055</c:v>
                </c:pt>
                <c:pt idx="10">
                  <c:v>0.6070993959686996</c:v>
                </c:pt>
                <c:pt idx="11">
                  <c:v>0.6833391577843789</c:v>
                </c:pt>
                <c:pt idx="12">
                  <c:v>0.6470067940007691</c:v>
                </c:pt>
                <c:pt idx="13">
                  <c:v>0.5940157958687728</c:v>
                </c:pt>
                <c:pt idx="14">
                  <c:v>0.6123591149706423</c:v>
                </c:pt>
                <c:pt idx="15">
                  <c:v>0.6227645305514157</c:v>
                </c:pt>
                <c:pt idx="16">
                  <c:v>0.6757299216526306</c:v>
                </c:pt>
                <c:pt idx="17">
                  <c:v>0.668715958918026</c:v>
                </c:pt>
                <c:pt idx="18">
                  <c:v>0.6852382088602561</c:v>
                </c:pt>
                <c:pt idx="19">
                  <c:v>0.7238717670313761</c:v>
                </c:pt>
                <c:pt idx="20">
                  <c:v>0.6080698248501235</c:v>
                </c:pt>
                <c:pt idx="21">
                  <c:v>0.6234660555714695</c:v>
                </c:pt>
                <c:pt idx="22">
                  <c:v>0.6510734202086162</c:v>
                </c:pt>
                <c:pt idx="23">
                  <c:v>0.610050465310276</c:v>
                </c:pt>
                <c:pt idx="24">
                  <c:v>0.6181571545718599</c:v>
                </c:pt>
                <c:pt idx="25">
                  <c:v>0.6239323091274815</c:v>
                </c:pt>
                <c:pt idx="26">
                  <c:v>0.6438387540082455</c:v>
                </c:pt>
                <c:pt idx="27">
                  <c:v>0.6801316938789224</c:v>
                </c:pt>
                <c:pt idx="28">
                  <c:v>0.6944531286376608</c:v>
                </c:pt>
                <c:pt idx="29">
                  <c:v>0.46357818103443116</c:v>
                </c:pt>
                <c:pt idx="30">
                  <c:v>0.4294609470653769</c:v>
                </c:pt>
                <c:pt idx="31">
                  <c:v>0.4505949940753304</c:v>
                </c:pt>
                <c:pt idx="32">
                  <c:v>0.46736996913884044</c:v>
                </c:pt>
                <c:pt idx="33">
                  <c:v>0.6204234448194377</c:v>
                </c:pt>
                <c:pt idx="34">
                  <c:v>0.6081901382144191</c:v>
                </c:pt>
                <c:pt idx="35">
                  <c:v>0.5845279607387317</c:v>
                </c:pt>
                <c:pt idx="36">
                  <c:v>0.555347478834696</c:v>
                </c:pt>
                <c:pt idx="37">
                  <c:v>0.557270240947516</c:v>
                </c:pt>
                <c:pt idx="38">
                  <c:v>0.6428840770153688</c:v>
                </c:pt>
                <c:pt idx="39">
                  <c:v>0.6289288390370018</c:v>
                </c:pt>
                <c:pt idx="40">
                  <c:v>0.5517999585338441</c:v>
                </c:pt>
                <c:pt idx="41">
                  <c:v>0.5723301524540928</c:v>
                </c:pt>
                <c:pt idx="42">
                  <c:v>0.5690377977944271</c:v>
                </c:pt>
                <c:pt idx="43">
                  <c:v>0.5313442021346311</c:v>
                </c:pt>
                <c:pt idx="44">
                  <c:v>0.5524242249956864</c:v>
                </c:pt>
                <c:pt idx="45">
                  <c:v>0.6686492696953731</c:v>
                </c:pt>
                <c:pt idx="46">
                  <c:v>0.6851601704482423</c:v>
                </c:pt>
                <c:pt idx="47">
                  <c:v>0.6311495802403421</c:v>
                </c:pt>
                <c:pt idx="48">
                  <c:v>0.6035289196486292</c:v>
                </c:pt>
                <c:pt idx="49">
                  <c:v>0.6291532262660572</c:v>
                </c:pt>
                <c:pt idx="50">
                  <c:v>0.5045702560276081</c:v>
                </c:pt>
                <c:pt idx="51">
                  <c:v>0.5680004986287709</c:v>
                </c:pt>
                <c:pt idx="52">
                  <c:v>0.5424649656086686</c:v>
                </c:pt>
                <c:pt idx="53">
                  <c:v>0.5424649656086686</c:v>
                </c:pt>
                <c:pt idx="54">
                  <c:v>0.6326802611500213</c:v>
                </c:pt>
              </c:numCache>
            </c:numRef>
          </c:xVal>
          <c:yVal>
            <c:numRef>
              <c:f>Sheet1!$B$186:$B$240</c:f>
              <c:numCache>
                <c:formatCode>General</c:formatCode>
                <c:ptCount val="55"/>
                <c:pt idx="0">
                  <c:v>0.36478291657298934</c:v>
                </c:pt>
                <c:pt idx="1">
                  <c:v>0.41235048695981524</c:v>
                </c:pt>
                <c:pt idx="2">
                  <c:v>0.3724800650166681</c:v>
                </c:pt>
                <c:pt idx="3">
                  <c:v>0.4320138795313948</c:v>
                </c:pt>
                <c:pt idx="4">
                  <c:v>0.39666009375626177</c:v>
                </c:pt>
                <c:pt idx="5">
                  <c:v>0.353524571054848</c:v>
                </c:pt>
                <c:pt idx="6">
                  <c:v>0.3569407421894495</c:v>
                </c:pt>
                <c:pt idx="7">
                  <c:v>0.3867223294224079</c:v>
                </c:pt>
                <c:pt idx="8">
                  <c:v>0.31560650074703944</c:v>
                </c:pt>
                <c:pt idx="9">
                  <c:v>0.4362097240659088</c:v>
                </c:pt>
                <c:pt idx="10">
                  <c:v>0.39342487332760345</c:v>
                </c:pt>
                <c:pt idx="11">
                  <c:v>0.3276095228665571</c:v>
                </c:pt>
                <c:pt idx="12">
                  <c:v>0.3589740916761718</c:v>
                </c:pt>
                <c:pt idx="13">
                  <c:v>0.4047195272635732</c:v>
                </c:pt>
                <c:pt idx="14">
                  <c:v>0.38888432596497646</c:v>
                </c:pt>
                <c:pt idx="15">
                  <c:v>0.37990166315449814</c:v>
                </c:pt>
                <c:pt idx="16">
                  <c:v>0.3341783332986076</c:v>
                </c:pt>
                <c:pt idx="17">
                  <c:v>0.34023326322631064</c:v>
                </c:pt>
                <c:pt idx="18">
                  <c:v>0.3259701327487803</c:v>
                </c:pt>
                <c:pt idx="19">
                  <c:v>0.29261901634921983</c:v>
                </c:pt>
                <c:pt idx="20">
                  <c:v>0.3925871330801607</c:v>
                </c:pt>
                <c:pt idx="21">
                  <c:v>0.3792960590189073</c:v>
                </c:pt>
                <c:pt idx="22">
                  <c:v>0.3554635032025272</c:v>
                </c:pt>
                <c:pt idx="23">
                  <c:v>0.39087730945377774</c:v>
                </c:pt>
                <c:pt idx="24">
                  <c:v>0.38387906362872026</c:v>
                </c:pt>
                <c:pt idx="25">
                  <c:v>0.3788935572211337</c:v>
                </c:pt>
                <c:pt idx="26">
                  <c:v>0.361708959380594</c:v>
                </c:pt>
                <c:pt idx="27">
                  <c:v>0.3303784239753925</c:v>
                </c:pt>
                <c:pt idx="28">
                  <c:v>0.3180151869281653</c:v>
                </c:pt>
                <c:pt idx="29">
                  <c:v>0.5173221525758105</c:v>
                </c:pt>
                <c:pt idx="30">
                  <c:v>0.5467744705914871</c:v>
                </c:pt>
                <c:pt idx="31">
                  <c:v>0.5285301230555763</c:v>
                </c:pt>
                <c:pt idx="32">
                  <c:v>0.5140488230555916</c:v>
                </c:pt>
                <c:pt idx="33">
                  <c:v>0.38192264766756623</c:v>
                </c:pt>
                <c:pt idx="34">
                  <c:v>0.3924832703968616</c:v>
                </c:pt>
                <c:pt idx="35">
                  <c:v>0.41291007218828013</c:v>
                </c:pt>
                <c:pt idx="36">
                  <c:v>0.4381006498789538</c:v>
                </c:pt>
                <c:pt idx="37">
                  <c:v>0.43644079078056874</c:v>
                </c:pt>
                <c:pt idx="38">
                  <c:v>0.362533101525938</c:v>
                </c:pt>
                <c:pt idx="39">
                  <c:v>0.3745802125929171</c:v>
                </c:pt>
                <c:pt idx="40">
                  <c:v>0.44116311080889115</c:v>
                </c:pt>
                <c:pt idx="41">
                  <c:v>0.4234400503517883</c:v>
                </c:pt>
                <c:pt idx="42">
                  <c:v>0.42628223493641265</c:v>
                </c:pt>
                <c:pt idx="43">
                  <c:v>0.45882191173241554</c:v>
                </c:pt>
                <c:pt idx="44">
                  <c:v>0.44062420151813864</c:v>
                </c:pt>
                <c:pt idx="45">
                  <c:v>0.340290833901459</c:v>
                </c:pt>
                <c:pt idx="46">
                  <c:v>0.3260375008164892</c:v>
                </c:pt>
                <c:pt idx="47">
                  <c:v>0.372663117666329</c:v>
                </c:pt>
                <c:pt idx="48">
                  <c:v>0.3965071514554709</c:v>
                </c:pt>
                <c:pt idx="49">
                  <c:v>0.37438650626740455</c:v>
                </c:pt>
                <c:pt idx="50">
                  <c:v>0.4819350039600527</c:v>
                </c:pt>
                <c:pt idx="51">
                  <c:v>0.42717770216368006</c:v>
                </c:pt>
                <c:pt idx="52">
                  <c:v>0.4492217119415544</c:v>
                </c:pt>
                <c:pt idx="53">
                  <c:v>0.4492217119415544</c:v>
                </c:pt>
                <c:pt idx="54">
                  <c:v>0.371341729743342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Mini Baby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9284381139433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92843811394335</c:v>
                </c:pt>
                <c:pt idx="1">
                  <c:v>8.9284381139433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9284381139433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92843811394335</c:v>
                </c:pt>
                <c:pt idx="1">
                  <c:v>8.9284381139433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21772075563986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217720755639863</c:v>
                </c:pt>
                <c:pt idx="1">
                  <c:v>10.21772075563986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92843811394335</c:v>
                </c:pt>
                <c:pt idx="53">
                  <c:v>8.92843811394335</c:v>
                </c:pt>
                <c:pt idx="54">
                  <c:v>10.217720755639863</c:v>
                </c:pt>
              </c:numCache>
            </c:numRef>
          </c:xVal>
          <c:yVal>
            <c:numRef>
              <c:f>Sheet1!$B$186:$B$240</c:f>
              <c:numCache>
                <c:formatCode>General</c:formatCode>
                <c:ptCount val="55"/>
                <c:pt idx="0">
                  <c:v>0.3305751966055439</c:v>
                </c:pt>
                <c:pt idx="1">
                  <c:v>0.3490170477529596</c:v>
                </c:pt>
                <c:pt idx="2">
                  <c:v>0.3244561022025527</c:v>
                </c:pt>
                <c:pt idx="3">
                  <c:v>0.4936282224890002</c:v>
                </c:pt>
                <c:pt idx="4">
                  <c:v>0.48531640225354533</c:v>
                </c:pt>
                <c:pt idx="5">
                  <c:v>0.4386953059038058</c:v>
                </c:pt>
                <c:pt idx="6">
                  <c:v>0.38891499299654975</c:v>
                </c:pt>
                <c:pt idx="7">
                  <c:v>0.39803020864720495</c:v>
                </c:pt>
                <c:pt idx="8">
                  <c:v>0.3625962424399529</c:v>
                </c:pt>
                <c:pt idx="9">
                  <c:v>0.5296541642653472</c:v>
                </c:pt>
                <c:pt idx="10">
                  <c:v>0.49131468531590483</c:v>
                </c:pt>
                <c:pt idx="11">
                  <c:v>0.32710187056238504</c:v>
                </c:pt>
                <c:pt idx="12">
                  <c:v>0.37877892151755743</c:v>
                </c:pt>
                <c:pt idx="13">
                  <c:v>0.4688075325562353</c:v>
                </c:pt>
                <c:pt idx="14">
                  <c:v>0.4637696996518972</c:v>
                </c:pt>
                <c:pt idx="15">
                  <c:v>0.34235430231712616</c:v>
                </c:pt>
                <c:pt idx="16">
                  <c:v>0.29303307250427024</c:v>
                </c:pt>
                <c:pt idx="17">
                  <c:v>0.37224302798938724</c:v>
                </c:pt>
                <c:pt idx="18">
                  <c:v>0.3640399379605007</c:v>
                </c:pt>
                <c:pt idx="19">
                  <c:v>0.36031290810201544</c:v>
                </c:pt>
                <c:pt idx="20">
                  <c:v>0.36361105770125846</c:v>
                </c:pt>
                <c:pt idx="21">
                  <c:v>0.331179253308702</c:v>
                </c:pt>
                <c:pt idx="22">
                  <c:v>0.3079895164744638</c:v>
                </c:pt>
                <c:pt idx="23">
                  <c:v>0.36567693162605897</c:v>
                </c:pt>
                <c:pt idx="24">
                  <c:v>0.501323904887234</c:v>
                </c:pt>
                <c:pt idx="25">
                  <c:v>0.4714110169468466</c:v>
                </c:pt>
                <c:pt idx="26">
                  <c:v>0.2923686101307963</c:v>
                </c:pt>
                <c:pt idx="27">
                  <c:v>0.37709964388277795</c:v>
                </c:pt>
                <c:pt idx="28">
                  <c:v>0.3579027218564147</c:v>
                </c:pt>
                <c:pt idx="29">
                  <c:v>0.5208228552651764</c:v>
                </c:pt>
                <c:pt idx="30">
                  <c:v>0.5181770869053439</c:v>
                </c:pt>
                <c:pt idx="31">
                  <c:v>0.503873024174561</c:v>
                </c:pt>
                <c:pt idx="32">
                  <c:v>0.5009614708653392</c:v>
                </c:pt>
                <c:pt idx="33">
                  <c:v>0.3589235776847519</c:v>
                </c:pt>
                <c:pt idx="34">
                  <c:v>0.35912291639679406</c:v>
                </c:pt>
                <c:pt idx="35">
                  <c:v>0.3597390542340152</c:v>
                </c:pt>
                <c:pt idx="36">
                  <c:v>0.38666186149377024</c:v>
                </c:pt>
                <c:pt idx="37">
                  <c:v>0.3928353210000456</c:v>
                </c:pt>
                <c:pt idx="38">
                  <c:v>0.30884123642591677</c:v>
                </c:pt>
                <c:pt idx="39">
                  <c:v>0.32435945313004744</c:v>
                </c:pt>
                <c:pt idx="40">
                  <c:v>0.37763725434858875</c:v>
                </c:pt>
                <c:pt idx="41">
                  <c:v>0.35200712843359205</c:v>
                </c:pt>
                <c:pt idx="42">
                  <c:v>0.3760727474874094</c:v>
                </c:pt>
                <c:pt idx="43">
                  <c:v>0.4253033687947916</c:v>
                </c:pt>
                <c:pt idx="44">
                  <c:v>0.40835353770417626</c:v>
                </c:pt>
                <c:pt idx="45">
                  <c:v>0.3522547916818869</c:v>
                </c:pt>
                <c:pt idx="46">
                  <c:v>0.35431462503965594</c:v>
                </c:pt>
                <c:pt idx="47">
                  <c:v>0.32960870588049107</c:v>
                </c:pt>
                <c:pt idx="48">
                  <c:v>0.41333096493819865</c:v>
                </c:pt>
                <c:pt idx="49">
                  <c:v>0.32170160363615197</c:v>
                </c:pt>
                <c:pt idx="50">
                  <c:v>0.46570268110200297</c:v>
                </c:pt>
                <c:pt idx="51">
                  <c:v>0.43807312749955307</c:v>
                </c:pt>
                <c:pt idx="52">
                  <c:v>0.44922171194155447</c:v>
                </c:pt>
                <c:pt idx="53">
                  <c:v>0.44922171194155447</c:v>
                </c:pt>
                <c:pt idx="54">
                  <c:v>0.37134172974334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383168545743856</c:v>
                </c:pt>
                <c:pt idx="1">
                  <c:v>1.3804794427362521</c:v>
                </c:pt>
                <c:pt idx="2">
                  <c:v>1.3828473506691328</c:v>
                </c:pt>
                <c:pt idx="3">
                  <c:v>1.0833142039240045</c:v>
                </c:pt>
                <c:pt idx="4">
                  <c:v>1.3000253721244923</c:v>
                </c:pt>
                <c:pt idx="5">
                  <c:v>1.2021475126733887</c:v>
                </c:pt>
                <c:pt idx="6">
                  <c:v>1.1515616096382928</c:v>
                </c:pt>
                <c:pt idx="7">
                  <c:v>1.1425400935295515</c:v>
                </c:pt>
                <c:pt idx="8">
                  <c:v>1.0799405454310456</c:v>
                </c:pt>
                <c:pt idx="9">
                  <c:v>1.398741123732198</c:v>
                </c:pt>
                <c:pt idx="10">
                  <c:v>1.3568355159980163</c:v>
                </c:pt>
                <c:pt idx="11">
                  <c:v>1.356040717921243</c:v>
                </c:pt>
                <c:pt idx="12">
                  <c:v>1.3384407624785748</c:v>
                </c:pt>
                <c:pt idx="13">
                  <c:v>1.1732450475193408</c:v>
                </c:pt>
                <c:pt idx="14">
                  <c:v>1.0548097555869576</c:v>
                </c:pt>
                <c:pt idx="15">
                  <c:v>1.3027080844285144</c:v>
                </c:pt>
                <c:pt idx="16">
                  <c:v>1.301973499109045</c:v>
                </c:pt>
                <c:pt idx="17">
                  <c:v>1.35368780765632</c:v>
                </c:pt>
                <c:pt idx="18">
                  <c:v>1.2607437805872757</c:v>
                </c:pt>
                <c:pt idx="19">
                  <c:v>1.2269993649844981</c:v>
                </c:pt>
                <c:pt idx="20">
                  <c:v>1.347115946818517</c:v>
                </c:pt>
                <c:pt idx="21">
                  <c:v>1.4242211786493817</c:v>
                </c:pt>
                <c:pt idx="22">
                  <c:v>1.3217375513962932</c:v>
                </c:pt>
                <c:pt idx="23">
                  <c:v>1.1389930948535676</c:v>
                </c:pt>
                <c:pt idx="24">
                  <c:v>0.9187885872940489</c:v>
                </c:pt>
                <c:pt idx="25">
                  <c:v>1.0266236779756235</c:v>
                </c:pt>
                <c:pt idx="26">
                  <c:v>1.2914455820441917</c:v>
                </c:pt>
                <c:pt idx="27">
                  <c:v>1.2441832400077233</c:v>
                </c:pt>
                <c:pt idx="28">
                  <c:v>1.3993692555006074</c:v>
                </c:pt>
                <c:pt idx="29">
                  <c:v>1.3741263867846145</c:v>
                </c:pt>
                <c:pt idx="30">
                  <c:v>1.450239069354759</c:v>
                </c:pt>
                <c:pt idx="31">
                  <c:v>1.1700268817204302</c:v>
                </c:pt>
                <c:pt idx="32">
                  <c:v>0.9248818859285958</c:v>
                </c:pt>
                <c:pt idx="33">
                  <c:v>0.9430233834669008</c:v>
                </c:pt>
                <c:pt idx="34">
                  <c:v>1.1108963969579853</c:v>
                </c:pt>
                <c:pt idx="35">
                  <c:v>1.1849003185089064</c:v>
                </c:pt>
                <c:pt idx="36">
                  <c:v>1.3001423340348657</c:v>
                </c:pt>
                <c:pt idx="37">
                  <c:v>1.2795514922336835</c:v>
                </c:pt>
                <c:pt idx="38">
                  <c:v>1.2837707765987418</c:v>
                </c:pt>
                <c:pt idx="39">
                  <c:v>1.388766747239666</c:v>
                </c:pt>
                <c:pt idx="40">
                  <c:v>1.2945295460632884</c:v>
                </c:pt>
                <c:pt idx="41">
                  <c:v>1.2320859000267828</c:v>
                </c:pt>
                <c:pt idx="42">
                  <c:v>1.2108498354807216</c:v>
                </c:pt>
                <c:pt idx="43">
                  <c:v>1.0399293830495622</c:v>
                </c:pt>
                <c:pt idx="44">
                  <c:v>1.090217845419278</c:v>
                </c:pt>
                <c:pt idx="45">
                  <c:v>1.0473427764739518</c:v>
                </c:pt>
                <c:pt idx="46">
                  <c:v>1.2684035900128898</c:v>
                </c:pt>
                <c:pt idx="47">
                  <c:v>1.214097384888708</c:v>
                </c:pt>
                <c:pt idx="48">
                  <c:v>1.3057585916861147</c:v>
                </c:pt>
                <c:pt idx="49">
                  <c:v>1.2613416006320173</c:v>
                </c:pt>
                <c:pt idx="50">
                  <c:v>1.2244545129366877</c:v>
                </c:pt>
                <c:pt idx="51">
                  <c:v>1.3427179979382178</c:v>
                </c:pt>
                <c:pt idx="52">
                  <c:v>1.3176839182084663</c:v>
                </c:pt>
                <c:pt idx="53">
                  <c:v>1.2515329644997695</c:v>
                </c:pt>
                <c:pt idx="54">
                  <c:v>1.335154451431124</c:v>
                </c:pt>
                <c:pt idx="55">
                  <c:v>1.1069150623142614</c:v>
                </c:pt>
                <c:pt idx="56">
                  <c:v>0.9838532287499545</c:v>
                </c:pt>
                <c:pt idx="57">
                  <c:v>1.104961267813849</c:v>
                </c:pt>
                <c:pt idx="58">
                  <c:v>1.146672080830278</c:v>
                </c:pt>
                <c:pt idx="59">
                  <c:v>1.2791631799163181</c:v>
                </c:pt>
                <c:pt idx="60">
                  <c:v>1.132757415241684</c:v>
                </c:pt>
                <c:pt idx="61">
                  <c:v>1.0724560152163574</c:v>
                </c:pt>
                <c:pt idx="62">
                  <c:v>1.0335046225138218</c:v>
                </c:pt>
                <c:pt idx="63">
                  <c:v>1.3215806526267067</c:v>
                </c:pt>
                <c:pt idx="64">
                  <c:v>1.311950397246387</c:v>
                </c:pt>
                <c:pt idx="65">
                  <c:v>1.110846372688478</c:v>
                </c:pt>
                <c:pt idx="66">
                  <c:v>1.0044461172928087</c:v>
                </c:pt>
                <c:pt idx="67">
                  <c:v>1.3567884315486038</c:v>
                </c:pt>
                <c:pt idx="68">
                  <c:v>1.3328742728244094</c:v>
                </c:pt>
                <c:pt idx="69">
                  <c:v>1.4131164565521903</c:v>
                </c:pt>
                <c:pt idx="70">
                  <c:v>1.3244815736461666</c:v>
                </c:pt>
                <c:pt idx="71">
                  <c:v>1.3020083543766077</c:v>
                </c:pt>
                <c:pt idx="72">
                  <c:v>1.3374407020872865</c:v>
                </c:pt>
                <c:pt idx="73">
                  <c:v>1.363495973820642</c:v>
                </c:pt>
                <c:pt idx="74">
                  <c:v>0.9040217244387649</c:v>
                </c:pt>
                <c:pt idx="75">
                  <c:v>0.9933942543152363</c:v>
                </c:pt>
                <c:pt idx="76">
                  <c:v>1.2766443397789402</c:v>
                </c:pt>
                <c:pt idx="77">
                  <c:v>1.3501308746197562</c:v>
                </c:pt>
                <c:pt idx="78">
                  <c:v>1.3446475818177486</c:v>
                </c:pt>
                <c:pt idx="79">
                  <c:v>1.0396796333266394</c:v>
                </c:pt>
                <c:pt idx="80">
                  <c:v>1.0708249221610153</c:v>
                </c:pt>
                <c:pt idx="81">
                  <c:v>1.17632574405824</c:v>
                </c:pt>
                <c:pt idx="82">
                  <c:v>1.1370072347842695</c:v>
                </c:pt>
                <c:pt idx="83">
                  <c:v>0.9642128086544339</c:v>
                </c:pt>
                <c:pt idx="84">
                  <c:v>0.9555289870361253</c:v>
                </c:pt>
                <c:pt idx="85">
                  <c:v>1.146539636886572</c:v>
                </c:pt>
                <c:pt idx="86">
                  <c:v>1.3370758153121207</c:v>
                </c:pt>
                <c:pt idx="87">
                  <c:v>1.1977874227485021</c:v>
                </c:pt>
                <c:pt idx="88">
                  <c:v>1.1091641466359083</c:v>
                </c:pt>
                <c:pt idx="89">
                  <c:v>1.2044187068353633</c:v>
                </c:pt>
                <c:pt idx="90">
                  <c:v>1.331229411623266</c:v>
                </c:pt>
                <c:pt idx="91">
                  <c:v>1.2184521853434112</c:v>
                </c:pt>
                <c:pt idx="92">
                  <c:v>1.2065496990875557</c:v>
                </c:pt>
                <c:pt idx="93">
                  <c:v>1.188414073945323</c:v>
                </c:pt>
                <c:pt idx="94">
                  <c:v>1.1753796069671838</c:v>
                </c:pt>
                <c:pt idx="95">
                  <c:v>1.0584903592004775</c:v>
                </c:pt>
                <c:pt idx="96">
                  <c:v>1.0249647948217506</c:v>
                </c:pt>
                <c:pt idx="97">
                  <c:v>1.215194040405272</c:v>
                </c:pt>
                <c:pt idx="98">
                  <c:v>1.0914165757778325</c:v>
                </c:pt>
                <c:pt idx="99">
                  <c:v>1.2210484473246765</c:v>
                </c:pt>
                <c:pt idx="100">
                  <c:v>1.1363187747482073</c:v>
                </c:pt>
                <c:pt idx="101">
                  <c:v>1.1929344893333813</c:v>
                </c:pt>
                <c:pt idx="102">
                  <c:v>1.0077984809326577</c:v>
                </c:pt>
                <c:pt idx="103">
                  <c:v>1.0388816798395657</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2808795860771403</c:v>
                </c:pt>
                <c:pt idx="1">
                  <c:v>1.3792910277622168</c:v>
                </c:pt>
                <c:pt idx="2">
                  <c:v>1.3059835354771265</c:v>
                </c:pt>
                <c:pt idx="3">
                  <c:v>0.9815979585235238</c:v>
                </c:pt>
                <c:pt idx="4">
                  <c:v>1.0002641468656572</c:v>
                </c:pt>
                <c:pt idx="5">
                  <c:v>1.066439383288814</c:v>
                </c:pt>
                <c:pt idx="6">
                  <c:v>1.2291271993363297</c:v>
                </c:pt>
                <c:pt idx="7">
                  <c:v>1.1942801993745111</c:v>
                </c:pt>
                <c:pt idx="8">
                  <c:v>1.3065488198507162</c:v>
                </c:pt>
                <c:pt idx="9">
                  <c:v>0.9585751779134911</c:v>
                </c:pt>
                <c:pt idx="10">
                  <c:v>1.0282816169489832</c:v>
                </c:pt>
                <c:pt idx="11">
                  <c:v>1.3771978367500946</c:v>
                </c:pt>
                <c:pt idx="12">
                  <c:v>1.251655300681959</c:v>
                </c:pt>
                <c:pt idx="13">
                  <c:v>1.0859227099477498</c:v>
                </c:pt>
                <c:pt idx="14">
                  <c:v>1.0518821663377365</c:v>
                </c:pt>
                <c:pt idx="15">
                  <c:v>1.3263241420353105</c:v>
                </c:pt>
                <c:pt idx="16">
                  <c:v>1.4039530800370676</c:v>
                </c:pt>
                <c:pt idx="17">
                  <c:v>1.2015450926820075</c:v>
                </c:pt>
                <c:pt idx="18">
                  <c:v>1.2516464891041161</c:v>
                </c:pt>
                <c:pt idx="19">
                  <c:v>1.2909524223278674</c:v>
                </c:pt>
                <c:pt idx="20">
                  <c:v>1.2140987877436542</c:v>
                </c:pt>
                <c:pt idx="21">
                  <c:v>1.3397761827963608</c:v>
                </c:pt>
                <c:pt idx="22">
                  <c:v>1.4295230482280843</c:v>
                </c:pt>
                <c:pt idx="23">
                  <c:v>1.2738896781765396</c:v>
                </c:pt>
                <c:pt idx="24">
                  <c:v>0.9516724677010204</c:v>
                </c:pt>
                <c:pt idx="25">
                  <c:v>1.060789294343597</c:v>
                </c:pt>
                <c:pt idx="26">
                  <c:v>1.3963724920034892</c:v>
                </c:pt>
                <c:pt idx="27">
                  <c:v>1.2515795590835468</c:v>
                </c:pt>
                <c:pt idx="28">
                  <c:v>1.3134970560112726</c:v>
                </c:pt>
                <c:pt idx="29">
                  <c:v>0.9752260762235825</c:v>
                </c:pt>
                <c:pt idx="30">
                  <c:v>0.9737276478679505</c:v>
                </c:pt>
                <c:pt idx="31">
                  <c:v>1.0269152993575141</c:v>
                </c:pt>
                <c:pt idx="32">
                  <c:v>1.0694657904499443</c:v>
                </c:pt>
                <c:pt idx="33">
                  <c:v>1.3645384685875868</c:v>
                </c:pt>
                <c:pt idx="34">
                  <c:v>1.2623264603978388</c:v>
                </c:pt>
                <c:pt idx="35">
                  <c:v>1.267679043316244</c:v>
                </c:pt>
                <c:pt idx="36">
                  <c:v>1.2435849433378265</c:v>
                </c:pt>
                <c:pt idx="37">
                  <c:v>1.1555740432612314</c:v>
                </c:pt>
                <c:pt idx="38">
                  <c:v>1.3701218843985534</c:v>
                </c:pt>
                <c:pt idx="39">
                  <c:v>1.348892841808256</c:v>
                </c:pt>
                <c:pt idx="40">
                  <c:v>1.1691366873208175</c:v>
                </c:pt>
                <c:pt idx="41">
                  <c:v>1.1900798446023018</c:v>
                </c:pt>
                <c:pt idx="42">
                  <c:v>1.17432999003961</c:v>
                </c:pt>
                <c:pt idx="43">
                  <c:v>1.0785264010178706</c:v>
                </c:pt>
                <c:pt idx="44">
                  <c:v>1.1460993246306947</c:v>
                </c:pt>
                <c:pt idx="45">
                  <c:v>1.15873365087397</c:v>
                </c:pt>
                <c:pt idx="46">
                  <c:v>1.2207417742123006</c:v>
                </c:pt>
                <c:pt idx="47">
                  <c:v>1.2250797358609227</c:v>
                </c:pt>
                <c:pt idx="48">
                  <c:v>1.0301050376989063</c:v>
                </c:pt>
                <c:pt idx="49">
                  <c:v>1.237445635116352</c:v>
                </c:pt>
                <c:pt idx="50">
                  <c:v>0.9903432494279175</c:v>
                </c:pt>
                <c:pt idx="51">
                  <c:v>1.0783466849684646</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063542642743700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0635426427437005</c:v>
                </c:pt>
                <c:pt idx="1">
                  <c:v>1.063542642743700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063542642743700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0635426427437005</c:v>
                </c:pt>
                <c:pt idx="1">
                  <c:v>1.063542642743700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2435633819939051</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2435633819939051</c:v>
                </c:pt>
                <c:pt idx="1">
                  <c:v>1.2435633819939051</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2808795860771403</c:v>
                </c:pt>
                <c:pt idx="1">
                  <c:v>1.3792910277622168</c:v>
                </c:pt>
                <c:pt idx="2">
                  <c:v>1.3059835354771265</c:v>
                </c:pt>
                <c:pt idx="3">
                  <c:v>0.9815979585235238</c:v>
                </c:pt>
                <c:pt idx="4">
                  <c:v>1.0002641468656572</c:v>
                </c:pt>
                <c:pt idx="5">
                  <c:v>1.066439383288814</c:v>
                </c:pt>
                <c:pt idx="6">
                  <c:v>1.2291271993363297</c:v>
                </c:pt>
                <c:pt idx="7">
                  <c:v>1.1942801993745111</c:v>
                </c:pt>
                <c:pt idx="8">
                  <c:v>1.3065488198507162</c:v>
                </c:pt>
                <c:pt idx="9">
                  <c:v>0.9585751779134911</c:v>
                </c:pt>
                <c:pt idx="10">
                  <c:v>1.0282816169489832</c:v>
                </c:pt>
                <c:pt idx="11">
                  <c:v>1.3771978367500946</c:v>
                </c:pt>
                <c:pt idx="12">
                  <c:v>1.251655300681959</c:v>
                </c:pt>
                <c:pt idx="13">
                  <c:v>1.0859227099477498</c:v>
                </c:pt>
                <c:pt idx="14">
                  <c:v>1.0518821663377365</c:v>
                </c:pt>
                <c:pt idx="15">
                  <c:v>1.3263241420353105</c:v>
                </c:pt>
                <c:pt idx="16">
                  <c:v>1.4039530800370676</c:v>
                </c:pt>
                <c:pt idx="17">
                  <c:v>1.2015450926820075</c:v>
                </c:pt>
                <c:pt idx="18">
                  <c:v>1.2516464891041161</c:v>
                </c:pt>
                <c:pt idx="19">
                  <c:v>1.2909524223278674</c:v>
                </c:pt>
                <c:pt idx="20">
                  <c:v>1.2140987877436542</c:v>
                </c:pt>
                <c:pt idx="21">
                  <c:v>1.3397761827963608</c:v>
                </c:pt>
                <c:pt idx="22">
                  <c:v>1.4295230482280843</c:v>
                </c:pt>
                <c:pt idx="23">
                  <c:v>1.2738896781765396</c:v>
                </c:pt>
                <c:pt idx="24">
                  <c:v>0.9516724677010204</c:v>
                </c:pt>
                <c:pt idx="25">
                  <c:v>1.060789294343597</c:v>
                </c:pt>
                <c:pt idx="26">
                  <c:v>1.3963724920034892</c:v>
                </c:pt>
                <c:pt idx="27">
                  <c:v>1.2515795590835468</c:v>
                </c:pt>
                <c:pt idx="28">
                  <c:v>1.3134970560112726</c:v>
                </c:pt>
                <c:pt idx="29">
                  <c:v>0.9752260762235825</c:v>
                </c:pt>
                <c:pt idx="30">
                  <c:v>0.9737276478679505</c:v>
                </c:pt>
                <c:pt idx="31">
                  <c:v>1.0269152993575141</c:v>
                </c:pt>
                <c:pt idx="32">
                  <c:v>1.0694657904499443</c:v>
                </c:pt>
                <c:pt idx="33">
                  <c:v>1.3645384685875868</c:v>
                </c:pt>
                <c:pt idx="34">
                  <c:v>1.2623264603978388</c:v>
                </c:pt>
                <c:pt idx="35">
                  <c:v>1.267679043316244</c:v>
                </c:pt>
                <c:pt idx="36">
                  <c:v>1.2435849433378265</c:v>
                </c:pt>
                <c:pt idx="37">
                  <c:v>1.1555740432612314</c:v>
                </c:pt>
                <c:pt idx="38">
                  <c:v>1.3701218843985534</c:v>
                </c:pt>
                <c:pt idx="39">
                  <c:v>1.348892841808256</c:v>
                </c:pt>
                <c:pt idx="40">
                  <c:v>1.1691366873208175</c:v>
                </c:pt>
                <c:pt idx="41">
                  <c:v>1.1900798446023018</c:v>
                </c:pt>
                <c:pt idx="42">
                  <c:v>1.17432999003961</c:v>
                </c:pt>
                <c:pt idx="43">
                  <c:v>1.0785264010178706</c:v>
                </c:pt>
                <c:pt idx="44">
                  <c:v>1.1460993246306947</c:v>
                </c:pt>
                <c:pt idx="45">
                  <c:v>1.15873365087397</c:v>
                </c:pt>
                <c:pt idx="46">
                  <c:v>1.2207417742123006</c:v>
                </c:pt>
                <c:pt idx="47">
                  <c:v>1.2250797358609227</c:v>
                </c:pt>
                <c:pt idx="48">
                  <c:v>1.0301050376989063</c:v>
                </c:pt>
                <c:pt idx="49">
                  <c:v>1.237445635116352</c:v>
                </c:pt>
                <c:pt idx="50">
                  <c:v>0.9903432494279175</c:v>
                </c:pt>
                <c:pt idx="51">
                  <c:v>1.0783466849684646</c:v>
                </c:pt>
                <c:pt idx="52">
                  <c:v>1.0635426427437005</c:v>
                </c:pt>
                <c:pt idx="53">
                  <c:v>1.0635426427437005</c:v>
                </c:pt>
                <c:pt idx="54">
                  <c:v>1.2435633819939051</c:v>
                </c:pt>
              </c:numCache>
            </c:numRef>
          </c:xVal>
          <c:yVal>
            <c:numRef>
              <c:f>Sheet1!$B$186:$B$240</c:f>
              <c:numCache>
                <c:formatCode>General</c:formatCode>
                <c:ptCount val="55"/>
                <c:pt idx="0">
                  <c:v>0.3551981158363475</c:v>
                </c:pt>
                <c:pt idx="1">
                  <c:v>0.3126236804770872</c:v>
                </c:pt>
                <c:pt idx="2">
                  <c:v>0.3443377275248741</c:v>
                </c:pt>
                <c:pt idx="3">
                  <c:v>0.4846723526559863</c:v>
                </c:pt>
                <c:pt idx="4">
                  <c:v>0.47659704743366227</c:v>
                </c:pt>
                <c:pt idx="5">
                  <c:v>0.4479685335409663</c:v>
                </c:pt>
                <c:pt idx="6">
                  <c:v>0.37758706377021567</c:v>
                </c:pt>
                <c:pt idx="7">
                  <c:v>0.3926624586829962</c:v>
                </c:pt>
                <c:pt idx="8">
                  <c:v>0.3440931760518857</c:v>
                </c:pt>
                <c:pt idx="9">
                  <c:v>0.49463239254656044</c:v>
                </c:pt>
                <c:pt idx="10">
                  <c:v>0.4644762213531979</c:v>
                </c:pt>
                <c:pt idx="11">
                  <c:v>0.31352922991233856</c:v>
                </c:pt>
                <c:pt idx="12">
                  <c:v>0.36784103040170135</c:v>
                </c:pt>
                <c:pt idx="13">
                  <c:v>0.43953972061819</c:v>
                </c:pt>
                <c:pt idx="14">
                  <c:v>0.45426622902720526</c:v>
                </c:pt>
                <c:pt idx="15">
                  <c:v>0.3355380409818116</c:v>
                </c:pt>
                <c:pt idx="16">
                  <c:v>0.30195446425157635</c:v>
                </c:pt>
                <c:pt idx="17">
                  <c:v>0.38951954435092384</c:v>
                </c:pt>
                <c:pt idx="18">
                  <c:v>0.36784484243762794</c:v>
                </c:pt>
                <c:pt idx="19">
                  <c:v>0.3508404384311803</c:v>
                </c:pt>
                <c:pt idx="20">
                  <c:v>0.384088605937967</c:v>
                </c:pt>
                <c:pt idx="21">
                  <c:v>0.32971846319669806</c:v>
                </c:pt>
                <c:pt idx="22">
                  <c:v>0.29089246841809935</c:v>
                </c:pt>
                <c:pt idx="23">
                  <c:v>0.35822206688295066</c:v>
                </c:pt>
                <c:pt idx="24">
                  <c:v>0.4976186204151143</c:v>
                </c:pt>
                <c:pt idx="25">
                  <c:v>0.45041285650233476</c:v>
                </c:pt>
                <c:pt idx="26">
                  <c:v>0.30523395340135995</c:v>
                </c:pt>
                <c:pt idx="27">
                  <c:v>0.36787379748376414</c:v>
                </c:pt>
                <c:pt idx="28">
                  <c:v>0.3410872528968819</c:v>
                </c:pt>
                <c:pt idx="29">
                  <c:v>0.487428935492805</c:v>
                </c:pt>
                <c:pt idx="30">
                  <c:v>0.48807718065693423</c:v>
                </c:pt>
                <c:pt idx="31">
                  <c:v>0.4650673131915267</c:v>
                </c:pt>
                <c:pt idx="32">
                  <c:v>0.44665925919393795</c:v>
                </c:pt>
                <c:pt idx="33">
                  <c:v>0.3190058842758473</c:v>
                </c:pt>
                <c:pt idx="34">
                  <c:v>0.36322450826003905</c:v>
                </c:pt>
                <c:pt idx="35">
                  <c:v>0.36090889138091675</c:v>
                </c:pt>
                <c:pt idx="36">
                  <c:v>0.37133240194540273</c:v>
                </c:pt>
                <c:pt idx="37">
                  <c:v>0.40940738908167523</c:v>
                </c:pt>
                <c:pt idx="38">
                  <c:v>0.31659040522729764</c:v>
                </c:pt>
                <c:pt idx="39">
                  <c:v>0.32577444405473266</c:v>
                </c:pt>
                <c:pt idx="40">
                  <c:v>0.4035399624600503</c:v>
                </c:pt>
                <c:pt idx="41">
                  <c:v>0.3944796023979277</c:v>
                </c:pt>
                <c:pt idx="42">
                  <c:v>0.4012932528588451</c:v>
                </c:pt>
                <c:pt idx="43">
                  <c:v>0.44273948754610415</c:v>
                </c:pt>
                <c:pt idx="44">
                  <c:v>0.4135063108023203</c:v>
                </c:pt>
                <c:pt idx="45">
                  <c:v>0.4080404899918353</c:v>
                </c:pt>
                <c:pt idx="46">
                  <c:v>0.3812147389042244</c:v>
                </c:pt>
                <c:pt idx="47">
                  <c:v>0.3793380641534244</c:v>
                </c:pt>
                <c:pt idx="48">
                  <c:v>0.4636873790446099</c:v>
                </c:pt>
                <c:pt idx="49">
                  <c:v>0.37398836934665436</c:v>
                </c:pt>
                <c:pt idx="50">
                  <c:v>0.4808889935675329</c:v>
                </c:pt>
                <c:pt idx="51">
                  <c:v>0.4428172357143806</c:v>
                </c:pt>
                <c:pt idx="52">
                  <c:v>0.44922171194155447</c:v>
                </c:pt>
                <c:pt idx="53">
                  <c:v>0.44922171194155447</c:v>
                </c:pt>
                <c:pt idx="54">
                  <c:v>0.371341729743342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9284381139433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92843811394335</c:v>
                </c:pt>
                <c:pt idx="1">
                  <c:v>8.9284381139433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9284381139433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92843811394335</c:v>
                </c:pt>
                <c:pt idx="1">
                  <c:v>8.9284381139433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21772075563986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217720755639863</c:v>
                </c:pt>
                <c:pt idx="1">
                  <c:v>10.21772075563986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92843811394335</c:v>
                </c:pt>
                <c:pt idx="53">
                  <c:v>8.92843811394335</c:v>
                </c:pt>
                <c:pt idx="54">
                  <c:v>10.217720755639863</c:v>
                </c:pt>
              </c:numCache>
            </c:numRef>
          </c:xVal>
          <c:yVal>
            <c:numRef>
              <c:f>Sheet1!$B$186:$B$240</c:f>
              <c:numCache>
                <c:formatCode>General</c:formatCode>
                <c:ptCount val="55"/>
                <c:pt idx="0">
                  <c:v>0.3305751966055439</c:v>
                </c:pt>
                <c:pt idx="1">
                  <c:v>0.3490170477529596</c:v>
                </c:pt>
                <c:pt idx="2">
                  <c:v>0.3244561022025527</c:v>
                </c:pt>
                <c:pt idx="3">
                  <c:v>0.4936282224890002</c:v>
                </c:pt>
                <c:pt idx="4">
                  <c:v>0.48531640225354533</c:v>
                </c:pt>
                <c:pt idx="5">
                  <c:v>0.4386953059038058</c:v>
                </c:pt>
                <c:pt idx="6">
                  <c:v>0.38891499299654975</c:v>
                </c:pt>
                <c:pt idx="7">
                  <c:v>0.39803020864720495</c:v>
                </c:pt>
                <c:pt idx="8">
                  <c:v>0.3625962424399529</c:v>
                </c:pt>
                <c:pt idx="9">
                  <c:v>0.5296541642653472</c:v>
                </c:pt>
                <c:pt idx="10">
                  <c:v>0.49131468531590483</c:v>
                </c:pt>
                <c:pt idx="11">
                  <c:v>0.32710187056238504</c:v>
                </c:pt>
                <c:pt idx="12">
                  <c:v>0.37877892151755743</c:v>
                </c:pt>
                <c:pt idx="13">
                  <c:v>0.4688075325562353</c:v>
                </c:pt>
                <c:pt idx="14">
                  <c:v>0.4637696996518972</c:v>
                </c:pt>
                <c:pt idx="15">
                  <c:v>0.34235430231712616</c:v>
                </c:pt>
                <c:pt idx="16">
                  <c:v>0.29303307250427024</c:v>
                </c:pt>
                <c:pt idx="17">
                  <c:v>0.37224302798938724</c:v>
                </c:pt>
                <c:pt idx="18">
                  <c:v>0.3640399379605007</c:v>
                </c:pt>
                <c:pt idx="19">
                  <c:v>0.36031290810201544</c:v>
                </c:pt>
                <c:pt idx="20">
                  <c:v>0.36361105770125846</c:v>
                </c:pt>
                <c:pt idx="21">
                  <c:v>0.331179253308702</c:v>
                </c:pt>
                <c:pt idx="22">
                  <c:v>0.3079895164744638</c:v>
                </c:pt>
                <c:pt idx="23">
                  <c:v>0.36567693162605897</c:v>
                </c:pt>
                <c:pt idx="24">
                  <c:v>0.501323904887234</c:v>
                </c:pt>
                <c:pt idx="25">
                  <c:v>0.4714110169468466</c:v>
                </c:pt>
                <c:pt idx="26">
                  <c:v>0.2923686101307963</c:v>
                </c:pt>
                <c:pt idx="27">
                  <c:v>0.37709964388277795</c:v>
                </c:pt>
                <c:pt idx="28">
                  <c:v>0.3579027218564147</c:v>
                </c:pt>
                <c:pt idx="29">
                  <c:v>0.5208228552651764</c:v>
                </c:pt>
                <c:pt idx="30">
                  <c:v>0.5181770869053439</c:v>
                </c:pt>
                <c:pt idx="31">
                  <c:v>0.503873024174561</c:v>
                </c:pt>
                <c:pt idx="32">
                  <c:v>0.5009614708653392</c:v>
                </c:pt>
                <c:pt idx="33">
                  <c:v>0.3589235776847519</c:v>
                </c:pt>
                <c:pt idx="34">
                  <c:v>0.35912291639679406</c:v>
                </c:pt>
                <c:pt idx="35">
                  <c:v>0.3597390542340152</c:v>
                </c:pt>
                <c:pt idx="36">
                  <c:v>0.38666186149377024</c:v>
                </c:pt>
                <c:pt idx="37">
                  <c:v>0.3928353210000456</c:v>
                </c:pt>
                <c:pt idx="38">
                  <c:v>0.30884123642591677</c:v>
                </c:pt>
                <c:pt idx="39">
                  <c:v>0.32435945313004744</c:v>
                </c:pt>
                <c:pt idx="40">
                  <c:v>0.37763725434858875</c:v>
                </c:pt>
                <c:pt idx="41">
                  <c:v>0.35200712843359205</c:v>
                </c:pt>
                <c:pt idx="42">
                  <c:v>0.3760727474874094</c:v>
                </c:pt>
                <c:pt idx="43">
                  <c:v>0.4253033687947916</c:v>
                </c:pt>
                <c:pt idx="44">
                  <c:v>0.40835353770417626</c:v>
                </c:pt>
                <c:pt idx="45">
                  <c:v>0.3522547916818869</c:v>
                </c:pt>
                <c:pt idx="46">
                  <c:v>0.35431462503965594</c:v>
                </c:pt>
                <c:pt idx="47">
                  <c:v>0.32960870588049107</c:v>
                </c:pt>
                <c:pt idx="48">
                  <c:v>0.41333096493819865</c:v>
                </c:pt>
                <c:pt idx="49">
                  <c:v>0.32170160363615197</c:v>
                </c:pt>
                <c:pt idx="50">
                  <c:v>0.46570268110200297</c:v>
                </c:pt>
                <c:pt idx="51">
                  <c:v>0.43807312749955307</c:v>
                </c:pt>
                <c:pt idx="52">
                  <c:v>0.44922171194155447</c:v>
                </c:pt>
                <c:pt idx="53">
                  <c:v>0.44922171194155447</c:v>
                </c:pt>
                <c:pt idx="54">
                  <c:v>0.37134172974334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4654493032196059</c:v>
                </c:pt>
                <c:pt idx="1">
                  <c:v>0.4597594903442714</c:v>
                </c:pt>
                <c:pt idx="2">
                  <c:v>0.44339881821947974</c:v>
                </c:pt>
                <c:pt idx="3">
                  <c:v>0.3616549386250017</c:v>
                </c:pt>
                <c:pt idx="4">
                  <c:v>0.41719742341722904</c:v>
                </c:pt>
                <c:pt idx="5">
                  <c:v>0.35013872663551404</c:v>
                </c:pt>
                <c:pt idx="6">
                  <c:v>0.3735471065359851</c:v>
                </c:pt>
                <c:pt idx="7">
                  <c:v>0.3775993573371404</c:v>
                </c:pt>
                <c:pt idx="8">
                  <c:v>0.3585697549168966</c:v>
                </c:pt>
                <c:pt idx="9">
                  <c:v>0.44074300928761606</c:v>
                </c:pt>
                <c:pt idx="10">
                  <c:v>0.43937841826547447</c:v>
                </c:pt>
                <c:pt idx="11">
                  <c:v>0.4344665402143966</c:v>
                </c:pt>
                <c:pt idx="12">
                  <c:v>0.4358116821343256</c:v>
                </c:pt>
                <c:pt idx="13">
                  <c:v>0.37836806819228186</c:v>
                </c:pt>
                <c:pt idx="14">
                  <c:v>0.3418016696416079</c:v>
                </c:pt>
                <c:pt idx="15">
                  <c:v>0.41603639200257764</c:v>
                </c:pt>
                <c:pt idx="16">
                  <c:v>0.42609034985026467</c:v>
                </c:pt>
                <c:pt idx="17">
                  <c:v>0.4280733803324242</c:v>
                </c:pt>
                <c:pt idx="18">
                  <c:v>0.40686282574361676</c:v>
                </c:pt>
                <c:pt idx="19">
                  <c:v>0.41769737455599737</c:v>
                </c:pt>
                <c:pt idx="20">
                  <c:v>0.4361278800373649</c:v>
                </c:pt>
                <c:pt idx="21">
                  <c:v>0.4245107819209129</c:v>
                </c:pt>
                <c:pt idx="22">
                  <c:v>0.36995004501757145</c:v>
                </c:pt>
                <c:pt idx="23">
                  <c:v>0.37970621277317335</c:v>
                </c:pt>
                <c:pt idx="24">
                  <c:v>0.3129627555655106</c:v>
                </c:pt>
                <c:pt idx="25">
                  <c:v>0.3262668446873253</c:v>
                </c:pt>
                <c:pt idx="26">
                  <c:v>0.4375226810475057</c:v>
                </c:pt>
                <c:pt idx="27">
                  <c:v>0.4100987279135076</c:v>
                </c:pt>
                <c:pt idx="28">
                  <c:v>0.47618371548235966</c:v>
                </c:pt>
                <c:pt idx="29">
                  <c:v>0.4888655124298525</c:v>
                </c:pt>
                <c:pt idx="30">
                  <c:v>0.48237276047366673</c:v>
                </c:pt>
                <c:pt idx="31">
                  <c:v>0.36960910329600766</c:v>
                </c:pt>
                <c:pt idx="32">
                  <c:v>0.2814972667469656</c:v>
                </c:pt>
                <c:pt idx="33">
                  <c:v>0.29742050897339717</c:v>
                </c:pt>
                <c:pt idx="34">
                  <c:v>0.3184186452064781</c:v>
                </c:pt>
                <c:pt idx="35">
                  <c:v>0.3860854858548586</c:v>
                </c:pt>
                <c:pt idx="36">
                  <c:v>0.41501498935988446</c:v>
                </c:pt>
                <c:pt idx="37">
                  <c:v>0.44226195646329414</c:v>
                </c:pt>
                <c:pt idx="38">
                  <c:v>0.42180226391808245</c:v>
                </c:pt>
                <c:pt idx="39">
                  <c:v>0.4367805992443546</c:v>
                </c:pt>
                <c:pt idx="40">
                  <c:v>0.3978511061981592</c:v>
                </c:pt>
                <c:pt idx="41">
                  <c:v>0.4049503445074863</c:v>
                </c:pt>
                <c:pt idx="42">
                  <c:v>0.37970172043660994</c:v>
                </c:pt>
                <c:pt idx="43">
                  <c:v>0.34126928580316035</c:v>
                </c:pt>
                <c:pt idx="44">
                  <c:v>0.3513983525256528</c:v>
                </c:pt>
                <c:pt idx="45">
                  <c:v>0.35615755763785073</c:v>
                </c:pt>
                <c:pt idx="46">
                  <c:v>0.41180026271025544</c:v>
                </c:pt>
                <c:pt idx="47">
                  <c:v>0.41271166229430006</c:v>
                </c:pt>
                <c:pt idx="48">
                  <c:v>0.4393735250972638</c:v>
                </c:pt>
                <c:pt idx="49">
                  <c:v>0.4070859023689212</c:v>
                </c:pt>
                <c:pt idx="50">
                  <c:v>0.3846110632560579</c:v>
                </c:pt>
                <c:pt idx="51">
                  <c:v>0.4452372626293186</c:v>
                </c:pt>
                <c:pt idx="52">
                  <c:v>0.44462420060787833</c:v>
                </c:pt>
                <c:pt idx="53">
                  <c:v>0.3831507260184548</c:v>
                </c:pt>
                <c:pt idx="54">
                  <c:v>0.4669732525207206</c:v>
                </c:pt>
                <c:pt idx="55">
                  <c:v>0.36664176607449944</c:v>
                </c:pt>
                <c:pt idx="56">
                  <c:v>0.310367308968073</c:v>
                </c:pt>
                <c:pt idx="57">
                  <c:v>0.3585380642091287</c:v>
                </c:pt>
                <c:pt idx="58">
                  <c:v>0.36869551860527633</c:v>
                </c:pt>
                <c:pt idx="59">
                  <c:v>0.4028795939652024</c:v>
                </c:pt>
                <c:pt idx="60">
                  <c:v>0.36612036508623497</c:v>
                </c:pt>
                <c:pt idx="61">
                  <c:v>0.3420992757195404</c:v>
                </c:pt>
                <c:pt idx="62">
                  <c:v>0.35791376194164737</c:v>
                </c:pt>
                <c:pt idx="63">
                  <c:v>0.42929526429938014</c:v>
                </c:pt>
                <c:pt idx="64">
                  <c:v>0.4238406056497864</c:v>
                </c:pt>
                <c:pt idx="65">
                  <c:v>0.38023420001947605</c:v>
                </c:pt>
                <c:pt idx="66">
                  <c:v>0.32544951485171153</c:v>
                </c:pt>
                <c:pt idx="67">
                  <c:v>0.459557984962045</c:v>
                </c:pt>
                <c:pt idx="68">
                  <c:v>0.4391541428381434</c:v>
                </c:pt>
                <c:pt idx="69">
                  <c:v>0.44984969516179873</c:v>
                </c:pt>
                <c:pt idx="70">
                  <c:v>0.4333647385419454</c:v>
                </c:pt>
                <c:pt idx="71">
                  <c:v>0.42652709378648135</c:v>
                </c:pt>
                <c:pt idx="72">
                  <c:v>0.4379244865387528</c:v>
                </c:pt>
                <c:pt idx="73">
                  <c:v>0.43736485795834285</c:v>
                </c:pt>
                <c:pt idx="74">
                  <c:v>0.2893619029639419</c:v>
                </c:pt>
                <c:pt idx="75">
                  <c:v>0.34007524331397726</c:v>
                </c:pt>
                <c:pt idx="76">
                  <c:v>0.4276720833151634</c:v>
                </c:pt>
                <c:pt idx="77">
                  <c:v>0.41957042671532524</c:v>
                </c:pt>
                <c:pt idx="78">
                  <c:v>0.4298925116309198</c:v>
                </c:pt>
                <c:pt idx="79">
                  <c:v>0.32760475408798706</c:v>
                </c:pt>
                <c:pt idx="80">
                  <c:v>0.40317157689979</c:v>
                </c:pt>
                <c:pt idx="81">
                  <c:v>0.4299615209026283</c:v>
                </c:pt>
                <c:pt idx="82">
                  <c:v>0.3842101016620945</c:v>
                </c:pt>
                <c:pt idx="83">
                  <c:v>0.3227642119486536</c:v>
                </c:pt>
                <c:pt idx="84">
                  <c:v>0.33541113785512966</c:v>
                </c:pt>
                <c:pt idx="85">
                  <c:v>0.3772996336360732</c:v>
                </c:pt>
                <c:pt idx="86">
                  <c:v>0.4430573867461193</c:v>
                </c:pt>
                <c:pt idx="87">
                  <c:v>0.3827235864272901</c:v>
                </c:pt>
                <c:pt idx="88">
                  <c:v>0.41934871614110253</c:v>
                </c:pt>
                <c:pt idx="89">
                  <c:v>0.42221774607613133</c:v>
                </c:pt>
                <c:pt idx="90">
                  <c:v>0.4385046432885175</c:v>
                </c:pt>
                <c:pt idx="91">
                  <c:v>0.4146327825770919</c:v>
                </c:pt>
                <c:pt idx="92">
                  <c:v>0.4252728547967702</c:v>
                </c:pt>
                <c:pt idx="93">
                  <c:v>0.38724685054978847</c:v>
                </c:pt>
                <c:pt idx="94">
                  <c:v>0.37208926200497233</c:v>
                </c:pt>
                <c:pt idx="95">
                  <c:v>0.3569665178296356</c:v>
                </c:pt>
                <c:pt idx="96">
                  <c:v>0.3587689221150395</c:v>
                </c:pt>
                <c:pt idx="97">
                  <c:v>0.42740808082540716</c:v>
                </c:pt>
                <c:pt idx="98">
                  <c:v>0.3683718868253139</c:v>
                </c:pt>
                <c:pt idx="99">
                  <c:v>0.40723525630724733</c:v>
                </c:pt>
                <c:pt idx="100">
                  <c:v>0.40617760945980985</c:v>
                </c:pt>
                <c:pt idx="101">
                  <c:v>0.38592843176810154</c:v>
                </c:pt>
                <c:pt idx="102">
                  <c:v>0.36234159880217653</c:v>
                </c:pt>
                <c:pt idx="103">
                  <c:v>0.3427559499484305</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41166911064415185</c:v>
                </c:pt>
                <c:pt idx="1">
                  <c:v>0.4192408973013642</c:v>
                </c:pt>
                <c:pt idx="2">
                  <c:v>0.4365014452244068</c:v>
                </c:pt>
                <c:pt idx="3">
                  <c:v>0.31890471742176557</c:v>
                </c:pt>
                <c:pt idx="4">
                  <c:v>0.3575892588872578</c:v>
                </c:pt>
                <c:pt idx="5">
                  <c:v>0.3717420956768192</c:v>
                </c:pt>
                <c:pt idx="6">
                  <c:v>0.37733582690933415</c:v>
                </c:pt>
                <c:pt idx="7">
                  <c:v>0.3822085122021785</c:v>
                </c:pt>
                <c:pt idx="8">
                  <c:v>0.46809923477915205</c:v>
                </c:pt>
                <c:pt idx="9">
                  <c:v>0.2887973146096034</c:v>
                </c:pt>
                <c:pt idx="10">
                  <c:v>0.35020931894761925</c:v>
                </c:pt>
                <c:pt idx="11">
                  <c:v>0.4623533783156135</c:v>
                </c:pt>
                <c:pt idx="12">
                  <c:v>0.44534934507449253</c:v>
                </c:pt>
                <c:pt idx="13">
                  <c:v>0.37101941726640425</c:v>
                </c:pt>
                <c:pt idx="14">
                  <c:v>0.38414361831487254</c:v>
                </c:pt>
                <c:pt idx="15">
                  <c:v>0.42982100166743675</c:v>
                </c:pt>
                <c:pt idx="16">
                  <c:v>0.47350196776727294</c:v>
                </c:pt>
                <c:pt idx="17">
                  <c:v>0.42195900676603415</c:v>
                </c:pt>
                <c:pt idx="18">
                  <c:v>0.4334588326052139</c:v>
                </c:pt>
                <c:pt idx="19">
                  <c:v>0.4444287759331667</c:v>
                </c:pt>
                <c:pt idx="20">
                  <c:v>0.43672091010785374</c:v>
                </c:pt>
                <c:pt idx="21">
                  <c:v>0.4597672984140128</c:v>
                </c:pt>
                <c:pt idx="22">
                  <c:v>0.4563737999756957</c:v>
                </c:pt>
                <c:pt idx="23">
                  <c:v>0.39008031232149143</c:v>
                </c:pt>
                <c:pt idx="24">
                  <c:v>0.3049812456517136</c:v>
                </c:pt>
                <c:pt idx="25">
                  <c:v>0.3509452989210638</c:v>
                </c:pt>
                <c:pt idx="26">
                  <c:v>0.5096782752902156</c:v>
                </c:pt>
                <c:pt idx="27">
                  <c:v>0.41705052036553314</c:v>
                </c:pt>
                <c:pt idx="28">
                  <c:v>0.4598032220842252</c:v>
                </c:pt>
                <c:pt idx="29">
                  <c:v>0.32216069132802716</c:v>
                </c:pt>
                <c:pt idx="30">
                  <c:v>0.3379862928673429</c:v>
                </c:pt>
                <c:pt idx="31">
                  <c:v>0.3546872720682171</c:v>
                </c:pt>
                <c:pt idx="32">
                  <c:v>0.32324061541418714</c:v>
                </c:pt>
                <c:pt idx="33">
                  <c:v>0.41772233064958897</c:v>
                </c:pt>
                <c:pt idx="34">
                  <c:v>0.4445430421761277</c:v>
                </c:pt>
                <c:pt idx="35">
                  <c:v>0.4633600256388571</c:v>
                </c:pt>
                <c:pt idx="36">
                  <c:v>0.4103526097735753</c:v>
                </c:pt>
                <c:pt idx="37">
                  <c:v>0.41651110341507097</c:v>
                </c:pt>
                <c:pt idx="38">
                  <c:v>0.4782556953417205</c:v>
                </c:pt>
                <c:pt idx="39">
                  <c:v>0.49346342163959733</c:v>
                </c:pt>
                <c:pt idx="40">
                  <c:v>0.455591794077104</c:v>
                </c:pt>
                <c:pt idx="41">
                  <c:v>0.4479328725547706</c:v>
                </c:pt>
                <c:pt idx="42">
                  <c:v>0.408293602216352</c:v>
                </c:pt>
                <c:pt idx="43">
                  <c:v>0.4130354856856831</c:v>
                </c:pt>
                <c:pt idx="44">
                  <c:v>0.42688319711292744</c:v>
                </c:pt>
                <c:pt idx="45">
                  <c:v>0.4924383733269755</c:v>
                </c:pt>
                <c:pt idx="46">
                  <c:v>0.4758874505964683</c:v>
                </c:pt>
                <c:pt idx="47">
                  <c:v>0.4490743599560336</c:v>
                </c:pt>
                <c:pt idx="48">
                  <c:v>0.42927466979218326</c:v>
                </c:pt>
                <c:pt idx="49">
                  <c:v>0.5038290919712293</c:v>
                </c:pt>
                <c:pt idx="50">
                  <c:v>0.36872822077003686</c:v>
                </c:pt>
                <c:pt idx="51">
                  <c:v>0.37054958281150885</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36234373172596684</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36234373172596684</c:v>
                </c:pt>
                <c:pt idx="1">
                  <c:v>0.36234373172596684</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36234373172596684</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36234373172596684</c:v>
                </c:pt>
                <c:pt idx="1">
                  <c:v>0.36234373172596684</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4352478078041794</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4352478078041794</c:v>
                </c:pt>
                <c:pt idx="1">
                  <c:v>0.4352478078041794</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41166911064415185</c:v>
                </c:pt>
                <c:pt idx="1">
                  <c:v>0.4192408973013642</c:v>
                </c:pt>
                <c:pt idx="2">
                  <c:v>0.4365014452244068</c:v>
                </c:pt>
                <c:pt idx="3">
                  <c:v>0.31890471742176557</c:v>
                </c:pt>
                <c:pt idx="4">
                  <c:v>0.3575892588872578</c:v>
                </c:pt>
                <c:pt idx="5">
                  <c:v>0.3717420956768192</c:v>
                </c:pt>
                <c:pt idx="6">
                  <c:v>0.37733582690933415</c:v>
                </c:pt>
                <c:pt idx="7">
                  <c:v>0.3822085122021785</c:v>
                </c:pt>
                <c:pt idx="8">
                  <c:v>0.46809923477915205</c:v>
                </c:pt>
                <c:pt idx="9">
                  <c:v>0.2887973146096034</c:v>
                </c:pt>
                <c:pt idx="10">
                  <c:v>0.35020931894761925</c:v>
                </c:pt>
                <c:pt idx="11">
                  <c:v>0.4623533783156135</c:v>
                </c:pt>
                <c:pt idx="12">
                  <c:v>0.44534934507449253</c:v>
                </c:pt>
                <c:pt idx="13">
                  <c:v>0.37101941726640425</c:v>
                </c:pt>
                <c:pt idx="14">
                  <c:v>0.38414361831487254</c:v>
                </c:pt>
                <c:pt idx="15">
                  <c:v>0.42982100166743675</c:v>
                </c:pt>
                <c:pt idx="16">
                  <c:v>0.47350196776727294</c:v>
                </c:pt>
                <c:pt idx="17">
                  <c:v>0.42195900676603415</c:v>
                </c:pt>
                <c:pt idx="18">
                  <c:v>0.4334588326052139</c:v>
                </c:pt>
                <c:pt idx="19">
                  <c:v>0.4444287759331667</c:v>
                </c:pt>
                <c:pt idx="20">
                  <c:v>0.43672091010785374</c:v>
                </c:pt>
                <c:pt idx="21">
                  <c:v>0.4597672984140128</c:v>
                </c:pt>
                <c:pt idx="22">
                  <c:v>0.4563737999756957</c:v>
                </c:pt>
                <c:pt idx="23">
                  <c:v>0.39008031232149143</c:v>
                </c:pt>
                <c:pt idx="24">
                  <c:v>0.3049812456517136</c:v>
                </c:pt>
                <c:pt idx="25">
                  <c:v>0.3509452989210638</c:v>
                </c:pt>
                <c:pt idx="26">
                  <c:v>0.5096782752902156</c:v>
                </c:pt>
                <c:pt idx="27">
                  <c:v>0.41705052036553314</c:v>
                </c:pt>
                <c:pt idx="28">
                  <c:v>0.4598032220842252</c:v>
                </c:pt>
                <c:pt idx="29">
                  <c:v>0.32216069132802716</c:v>
                </c:pt>
                <c:pt idx="30">
                  <c:v>0.3379862928673429</c:v>
                </c:pt>
                <c:pt idx="31">
                  <c:v>0.3546872720682171</c:v>
                </c:pt>
                <c:pt idx="32">
                  <c:v>0.32324061541418714</c:v>
                </c:pt>
                <c:pt idx="33">
                  <c:v>0.41772233064958897</c:v>
                </c:pt>
                <c:pt idx="34">
                  <c:v>0.4445430421761277</c:v>
                </c:pt>
                <c:pt idx="35">
                  <c:v>0.4633600256388571</c:v>
                </c:pt>
                <c:pt idx="36">
                  <c:v>0.4103526097735753</c:v>
                </c:pt>
                <c:pt idx="37">
                  <c:v>0.41651110341507097</c:v>
                </c:pt>
                <c:pt idx="38">
                  <c:v>0.4782556953417205</c:v>
                </c:pt>
                <c:pt idx="39">
                  <c:v>0.49346342163959733</c:v>
                </c:pt>
                <c:pt idx="40">
                  <c:v>0.455591794077104</c:v>
                </c:pt>
                <c:pt idx="41">
                  <c:v>0.4479328725547706</c:v>
                </c:pt>
                <c:pt idx="42">
                  <c:v>0.408293602216352</c:v>
                </c:pt>
                <c:pt idx="43">
                  <c:v>0.4130354856856831</c:v>
                </c:pt>
                <c:pt idx="44">
                  <c:v>0.42688319711292744</c:v>
                </c:pt>
                <c:pt idx="45">
                  <c:v>0.4924383733269755</c:v>
                </c:pt>
                <c:pt idx="46">
                  <c:v>0.4758874505964683</c:v>
                </c:pt>
                <c:pt idx="47">
                  <c:v>0.4490743599560336</c:v>
                </c:pt>
                <c:pt idx="48">
                  <c:v>0.42927466979218326</c:v>
                </c:pt>
                <c:pt idx="49">
                  <c:v>0.5038290919712293</c:v>
                </c:pt>
                <c:pt idx="50">
                  <c:v>0.36872822077003686</c:v>
                </c:pt>
                <c:pt idx="51">
                  <c:v>0.37054958281150885</c:v>
                </c:pt>
                <c:pt idx="52">
                  <c:v>0.36234373172596684</c:v>
                </c:pt>
                <c:pt idx="53">
                  <c:v>0.36234373172596684</c:v>
                </c:pt>
                <c:pt idx="54">
                  <c:v>0.4352478078041794</c:v>
                </c:pt>
              </c:numCache>
            </c:numRef>
          </c:xVal>
          <c:yVal>
            <c:numRef>
              <c:f>Sheet1!$B$186:$B$240</c:f>
              <c:numCache>
                <c:formatCode>General</c:formatCode>
                <c:ptCount val="55"/>
                <c:pt idx="0">
                  <c:v>0.39652973861557583</c:v>
                </c:pt>
                <c:pt idx="1">
                  <c:v>0.3884411564430273</c:v>
                </c:pt>
                <c:pt idx="2">
                  <c:v>0.37000252807969947</c:v>
                </c:pt>
                <c:pt idx="3">
                  <c:v>0.49562555988401646</c:v>
                </c:pt>
                <c:pt idx="4">
                  <c:v>0.45430069078552615</c:v>
                </c:pt>
                <c:pt idx="5">
                  <c:v>0.439181883490818</c:v>
                </c:pt>
                <c:pt idx="6">
                  <c:v>0.43320636453159705</c:v>
                </c:pt>
                <c:pt idx="7">
                  <c:v>0.42800110490445237</c:v>
                </c:pt>
                <c:pt idx="8">
                  <c:v>0.33624810143575745</c:v>
                </c:pt>
                <c:pt idx="9">
                  <c:v>0.5277878767417197</c:v>
                </c:pt>
                <c:pt idx="10">
                  <c:v>0.46218433216802335</c:v>
                </c:pt>
                <c:pt idx="11">
                  <c:v>0.3423861285964582</c:v>
                </c:pt>
                <c:pt idx="12">
                  <c:v>0.3605507344368175</c:v>
                </c:pt>
                <c:pt idx="13">
                  <c:v>0.43995388671431085</c:v>
                </c:pt>
                <c:pt idx="14">
                  <c:v>0.42593392241322126</c:v>
                </c:pt>
                <c:pt idx="15">
                  <c:v>0.3771389305043709</c:v>
                </c:pt>
                <c:pt idx="16">
                  <c:v>0.3304766168827519</c:v>
                </c:pt>
                <c:pt idx="17">
                  <c:v>0.385537528441567</c:v>
                </c:pt>
                <c:pt idx="18">
                  <c:v>0.37325280747922973</c:v>
                </c:pt>
                <c:pt idx="19">
                  <c:v>0.3615341349844325</c:v>
                </c:pt>
                <c:pt idx="20">
                  <c:v>0.36976808410707934</c:v>
                </c:pt>
                <c:pt idx="21">
                  <c:v>0.34514871564966687</c:v>
                </c:pt>
                <c:pt idx="22">
                  <c:v>0.3487738298021632</c:v>
                </c:pt>
                <c:pt idx="23">
                  <c:v>0.4195920325159308</c:v>
                </c:pt>
                <c:pt idx="24">
                  <c:v>0.5104993473581987</c:v>
                </c:pt>
                <c:pt idx="25">
                  <c:v>0.46139811951279935</c:v>
                </c:pt>
                <c:pt idx="26">
                  <c:v>0.2918311756750306</c:v>
                </c:pt>
                <c:pt idx="27">
                  <c:v>0.39078103270161796</c:v>
                </c:pt>
                <c:pt idx="28">
                  <c:v>0.3451103400889694</c:v>
                </c:pt>
                <c:pt idx="29">
                  <c:v>0.49214735669568643</c:v>
                </c:pt>
                <c:pt idx="30">
                  <c:v>0.4752416138009317</c:v>
                </c:pt>
                <c:pt idx="31">
                  <c:v>0.45740074628261346</c:v>
                </c:pt>
                <c:pt idx="32">
                  <c:v>0.4909937247846897</c:v>
                </c:pt>
                <c:pt idx="33">
                  <c:v>0.3900633694956991</c:v>
                </c:pt>
                <c:pt idx="34">
                  <c:v>0.3614120697523306</c:v>
                </c:pt>
                <c:pt idx="35">
                  <c:v>0.3413107747914119</c:v>
                </c:pt>
                <c:pt idx="36">
                  <c:v>0.39793609433503435</c:v>
                </c:pt>
                <c:pt idx="37">
                  <c:v>0.39135726636041007</c:v>
                </c:pt>
                <c:pt idx="38">
                  <c:v>0.32539843416940195</c:v>
                </c:pt>
                <c:pt idx="39">
                  <c:v>0.30915273822116307</c:v>
                </c:pt>
                <c:pt idx="40">
                  <c:v>0.3496092097800383</c:v>
                </c:pt>
                <c:pt idx="41">
                  <c:v>0.35779087401479126</c:v>
                </c:pt>
                <c:pt idx="42">
                  <c:v>0.40013563488926207</c:v>
                </c:pt>
                <c:pt idx="43">
                  <c:v>0.3950701046741708</c:v>
                </c:pt>
                <c:pt idx="44">
                  <c:v>0.38027724839707083</c:v>
                </c:pt>
                <c:pt idx="45">
                  <c:v>0.3102477489343316</c:v>
                </c:pt>
                <c:pt idx="46">
                  <c:v>0.3279283182104997</c:v>
                </c:pt>
                <c:pt idx="47">
                  <c:v>0.35657147692107494</c:v>
                </c:pt>
                <c:pt idx="48">
                  <c:v>0.377722551050819</c:v>
                </c:pt>
                <c:pt idx="49">
                  <c:v>0.2980795820366725</c:v>
                </c:pt>
                <c:pt idx="50">
                  <c:v>0.4424014637490745</c:v>
                </c:pt>
                <c:pt idx="51">
                  <c:v>0.4404557886785317</c:v>
                </c:pt>
                <c:pt idx="52">
                  <c:v>0.44922171194155447</c:v>
                </c:pt>
                <c:pt idx="53">
                  <c:v>0.44922171194155447</c:v>
                </c:pt>
                <c:pt idx="54">
                  <c:v>0.3713417297433428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Ficell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9284381139433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92843811394335</c:v>
                </c:pt>
                <c:pt idx="1">
                  <c:v>8.9284381139433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9284381139433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92843811394335</c:v>
                </c:pt>
                <c:pt idx="1">
                  <c:v>8.9284381139433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21772075563986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217720755639863</c:v>
                </c:pt>
                <c:pt idx="1">
                  <c:v>10.21772075563986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92843811394335</c:v>
                </c:pt>
                <c:pt idx="53">
                  <c:v>8.92843811394335</c:v>
                </c:pt>
                <c:pt idx="54">
                  <c:v>10.217720755639863</c:v>
                </c:pt>
              </c:numCache>
            </c:numRef>
          </c:xVal>
          <c:yVal>
            <c:numRef>
              <c:f>Sheet1!$B$186:$B$240</c:f>
              <c:numCache>
                <c:formatCode>General</c:formatCode>
                <c:ptCount val="55"/>
                <c:pt idx="0">
                  <c:v>0.3305751966055439</c:v>
                </c:pt>
                <c:pt idx="1">
                  <c:v>0.3490170477529596</c:v>
                </c:pt>
                <c:pt idx="2">
                  <c:v>0.3244561022025527</c:v>
                </c:pt>
                <c:pt idx="3">
                  <c:v>0.4936282224890002</c:v>
                </c:pt>
                <c:pt idx="4">
                  <c:v>0.48531640225354533</c:v>
                </c:pt>
                <c:pt idx="5">
                  <c:v>0.4386953059038058</c:v>
                </c:pt>
                <c:pt idx="6">
                  <c:v>0.38891499299654975</c:v>
                </c:pt>
                <c:pt idx="7">
                  <c:v>0.39803020864720495</c:v>
                </c:pt>
                <c:pt idx="8">
                  <c:v>0.3625962424399529</c:v>
                </c:pt>
                <c:pt idx="9">
                  <c:v>0.5296541642653472</c:v>
                </c:pt>
                <c:pt idx="10">
                  <c:v>0.49131468531590483</c:v>
                </c:pt>
                <c:pt idx="11">
                  <c:v>0.32710187056238504</c:v>
                </c:pt>
                <c:pt idx="12">
                  <c:v>0.37877892151755743</c:v>
                </c:pt>
                <c:pt idx="13">
                  <c:v>0.4688075325562353</c:v>
                </c:pt>
                <c:pt idx="14">
                  <c:v>0.4637696996518972</c:v>
                </c:pt>
                <c:pt idx="15">
                  <c:v>0.34235430231712616</c:v>
                </c:pt>
                <c:pt idx="16">
                  <c:v>0.29303307250427024</c:v>
                </c:pt>
                <c:pt idx="17">
                  <c:v>0.37224302798938724</c:v>
                </c:pt>
                <c:pt idx="18">
                  <c:v>0.3640399379605007</c:v>
                </c:pt>
                <c:pt idx="19">
                  <c:v>0.36031290810201544</c:v>
                </c:pt>
                <c:pt idx="20">
                  <c:v>0.36361105770125846</c:v>
                </c:pt>
                <c:pt idx="21">
                  <c:v>0.331179253308702</c:v>
                </c:pt>
                <c:pt idx="22">
                  <c:v>0.3079895164744638</c:v>
                </c:pt>
                <c:pt idx="23">
                  <c:v>0.36567693162605897</c:v>
                </c:pt>
                <c:pt idx="24">
                  <c:v>0.501323904887234</c:v>
                </c:pt>
                <c:pt idx="25">
                  <c:v>0.4714110169468466</c:v>
                </c:pt>
                <c:pt idx="26">
                  <c:v>0.2923686101307963</c:v>
                </c:pt>
                <c:pt idx="27">
                  <c:v>0.37709964388277795</c:v>
                </c:pt>
                <c:pt idx="28">
                  <c:v>0.3579027218564147</c:v>
                </c:pt>
                <c:pt idx="29">
                  <c:v>0.5208228552651764</c:v>
                </c:pt>
                <c:pt idx="30">
                  <c:v>0.5181770869053439</c:v>
                </c:pt>
                <c:pt idx="31">
                  <c:v>0.503873024174561</c:v>
                </c:pt>
                <c:pt idx="32">
                  <c:v>0.5009614708653392</c:v>
                </c:pt>
                <c:pt idx="33">
                  <c:v>0.3589235776847519</c:v>
                </c:pt>
                <c:pt idx="34">
                  <c:v>0.35912291639679406</c:v>
                </c:pt>
                <c:pt idx="35">
                  <c:v>0.3597390542340152</c:v>
                </c:pt>
                <c:pt idx="36">
                  <c:v>0.38666186149377024</c:v>
                </c:pt>
                <c:pt idx="37">
                  <c:v>0.3928353210000456</c:v>
                </c:pt>
                <c:pt idx="38">
                  <c:v>0.30884123642591677</c:v>
                </c:pt>
                <c:pt idx="39">
                  <c:v>0.32435945313004744</c:v>
                </c:pt>
                <c:pt idx="40">
                  <c:v>0.37763725434858875</c:v>
                </c:pt>
                <c:pt idx="41">
                  <c:v>0.35200712843359205</c:v>
                </c:pt>
                <c:pt idx="42">
                  <c:v>0.3760727474874094</c:v>
                </c:pt>
                <c:pt idx="43">
                  <c:v>0.4253033687947916</c:v>
                </c:pt>
                <c:pt idx="44">
                  <c:v>0.40835353770417626</c:v>
                </c:pt>
                <c:pt idx="45">
                  <c:v>0.3522547916818869</c:v>
                </c:pt>
                <c:pt idx="46">
                  <c:v>0.35431462503965594</c:v>
                </c:pt>
                <c:pt idx="47">
                  <c:v>0.32960870588049107</c:v>
                </c:pt>
                <c:pt idx="48">
                  <c:v>0.41333096493819865</c:v>
                </c:pt>
                <c:pt idx="49">
                  <c:v>0.32170160363615197</c:v>
                </c:pt>
                <c:pt idx="50">
                  <c:v>0.46570268110200297</c:v>
                </c:pt>
                <c:pt idx="51">
                  <c:v>0.43807312749955307</c:v>
                </c:pt>
                <c:pt idx="52">
                  <c:v>0.44922171194155447</c:v>
                </c:pt>
                <c:pt idx="53">
                  <c:v>0.44922171194155447</c:v>
                </c:pt>
                <c:pt idx="54">
                  <c:v>0.37134172974334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5366732900327503</c:v>
                </c:pt>
                <c:pt idx="1">
                  <c:v>1.0292464332652447</c:v>
                </c:pt>
                <c:pt idx="2">
                  <c:v>1.0452177268926481</c:v>
                </c:pt>
                <c:pt idx="3">
                  <c:v>1.0416833603102615</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5445696091910279</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5445696091910279</c:v>
                </c:pt>
                <c:pt idx="1">
                  <c:v>0.5445696091910279</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5445696091910279</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5445696091910279</c:v>
                </c:pt>
                <c:pt idx="1">
                  <c:v>0.5445696091910279</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1827065067227072</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1827065067227072</c:v>
                </c:pt>
                <c:pt idx="1">
                  <c:v>1.1827065067227072</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5366732900327503</c:v>
                </c:pt>
                <c:pt idx="1">
                  <c:v>1.0292464332652447</c:v>
                </c:pt>
                <c:pt idx="2">
                  <c:v>1.0452177268926481</c:v>
                </c:pt>
                <c:pt idx="3">
                  <c:v>1.0416833603102615</c:v>
                </c:pt>
                <c:pt idx="4">
                  <c:v>0.5445696091910279</c:v>
                </c:pt>
                <c:pt idx="5">
                  <c:v>0.5445696091910279</c:v>
                </c:pt>
                <c:pt idx="6">
                  <c:v>1.1827065067227072</c:v>
                </c:pt>
              </c:numCache>
            </c:numRef>
          </c:xVal>
          <c:yVal>
            <c:numRef>
              <c:f>Sheet1!$B$34:$B$40</c:f>
              <c:numCache>
                <c:formatCode>General</c:formatCode>
                <c:ptCount val="7"/>
                <c:pt idx="0">
                  <c:v>1.2986704867184775e-06</c:v>
                </c:pt>
                <c:pt idx="1">
                  <c:v>5.484844028663291e-07</c:v>
                </c:pt>
                <c:pt idx="2">
                  <c:v>5.241602138905217e-07</c:v>
                </c:pt>
                <c:pt idx="3">
                  <c:v>5.295430340092528e-07</c:v>
                </c:pt>
                <c:pt idx="4">
                  <c:v>1.2866444377395972e-06</c:v>
                </c:pt>
                <c:pt idx="5">
                  <c:v>1.2866444377395972e-06</c:v>
                </c:pt>
                <c:pt idx="6">
                  <c:v>3.147655874651845e-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t More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600821458522503</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600821458522503</c:v>
                </c:pt>
                <c:pt idx="1">
                  <c:v>8.600821458522503</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9064369084968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90643690849686</c:v>
                </c:pt>
                <c:pt idx="1">
                  <c:v>8.69064369084968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242106515543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24210651554359</c:v>
                </c:pt>
                <c:pt idx="1">
                  <c:v>10.5242106515543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90643690849686</c:v>
                </c:pt>
                <c:pt idx="53">
                  <c:v>8.600821458522503</c:v>
                </c:pt>
                <c:pt idx="54">
                  <c:v>10.524210651554359</c:v>
                </c:pt>
              </c:numCache>
            </c:numRef>
          </c:xVal>
          <c:yVal>
            <c:numRef>
              <c:f>Sheet1!$B$186:$B$240</c:f>
              <c:numCache>
                <c:formatCode>General</c:formatCode>
                <c:ptCount val="55"/>
                <c:pt idx="0">
                  <c:v>0.03330876700272775</c:v>
                </c:pt>
                <c:pt idx="1">
                  <c:v>0.039767670836208274</c:v>
                </c:pt>
                <c:pt idx="2">
                  <c:v>0.031165671823128738</c:v>
                </c:pt>
                <c:pt idx="3">
                  <c:v>0.09041495474499436</c:v>
                </c:pt>
                <c:pt idx="4">
                  <c:v>0.08750389949610177</c:v>
                </c:pt>
                <c:pt idx="5">
                  <c:v>0.07117575675558332</c:v>
                </c:pt>
                <c:pt idx="6">
                  <c:v>0.0537411591493884</c:v>
                </c:pt>
                <c:pt idx="7">
                  <c:v>0.056933588197774304</c:v>
                </c:pt>
                <c:pt idx="8">
                  <c:v>0.04452352272538751</c:v>
                </c:pt>
                <c:pt idx="9">
                  <c:v>0.10303234828016566</c:v>
                </c:pt>
                <c:pt idx="10">
                  <c:v>0.08960468282615291</c:v>
                </c:pt>
                <c:pt idx="11">
                  <c:v>0.032092301328226824</c:v>
                </c:pt>
                <c:pt idx="12">
                  <c:v>0.05019119497232313</c:v>
                </c:pt>
                <c:pt idx="13">
                  <c:v>0.08172198525538693</c:v>
                </c:pt>
                <c:pt idx="14">
                  <c:v>0.07995758112924128</c:v>
                </c:pt>
                <c:pt idx="15">
                  <c:v>0.037434172333643934</c:v>
                </c:pt>
                <c:pt idx="16">
                  <c:v>0.020160359755730883</c:v>
                </c:pt>
                <c:pt idx="17">
                  <c:v>0.047902123911784</c:v>
                </c:pt>
                <c:pt idx="18">
                  <c:v>0.04502914932748445</c:v>
                </c:pt>
                <c:pt idx="19">
                  <c:v>0.04372382876893302</c:v>
                </c:pt>
                <c:pt idx="20">
                  <c:v>0.04487894226158953</c:v>
                </c:pt>
                <c:pt idx="21">
                  <c:v>0.03353725099028618</c:v>
                </c:pt>
                <c:pt idx="22">
                  <c:v>0.025398566729755684</c:v>
                </c:pt>
                <c:pt idx="23">
                  <c:v>0.04560247488885791</c:v>
                </c:pt>
                <c:pt idx="24">
                  <c:v>0.09311021956119298</c:v>
                </c:pt>
                <c:pt idx="25">
                  <c:v>0.08263380561314329</c:v>
                </c:pt>
                <c:pt idx="26">
                  <c:v>0.019927644583217635</c:v>
                </c:pt>
                <c:pt idx="27">
                  <c:v>0.04960306026360789</c:v>
                </c:pt>
                <c:pt idx="28">
                  <c:v>0.04287970737045324</c:v>
                </c:pt>
                <c:pt idx="29">
                  <c:v>0.09993935207821725</c:v>
                </c:pt>
                <c:pt idx="30">
                  <c:v>0.09901272257311913</c:v>
                </c:pt>
                <c:pt idx="31">
                  <c:v>0.09400299958665276</c:v>
                </c:pt>
                <c:pt idx="32">
                  <c:v>0.09298328401254938</c:v>
                </c:pt>
                <c:pt idx="33">
                  <c:v>0.04323724249913266</c:v>
                </c:pt>
                <c:pt idx="34">
                  <c:v>0.04330705705088661</c:v>
                </c:pt>
                <c:pt idx="35">
                  <c:v>0.04352284748358068</c:v>
                </c:pt>
                <c:pt idx="36">
                  <c:v>0.052952043155320844</c:v>
                </c:pt>
                <c:pt idx="37">
                  <c:v>0.05511206307473901</c:v>
                </c:pt>
                <c:pt idx="38">
                  <c:v>0.025696865269068087</c:v>
                </c:pt>
                <c:pt idx="39">
                  <c:v>0.031131822343490462</c:v>
                </c:pt>
                <c:pt idx="40">
                  <c:v>0.04979134799409585</c:v>
                </c:pt>
                <c:pt idx="41">
                  <c:v>0.040814889112517766</c:v>
                </c:pt>
                <c:pt idx="42">
                  <c:v>0.0492434095424511</c:v>
                </c:pt>
                <c:pt idx="43">
                  <c:v>0.06648548823320324</c:v>
                </c:pt>
                <c:pt idx="44">
                  <c:v>0.060549135741638754</c:v>
                </c:pt>
                <c:pt idx="45">
                  <c:v>0.040901628404090895</c:v>
                </c:pt>
                <c:pt idx="46">
                  <c:v>0.04162304543888187</c:v>
                </c:pt>
                <c:pt idx="47">
                  <c:v>0.03297027220634488</c:v>
                </c:pt>
                <c:pt idx="48">
                  <c:v>0.06229238394301051</c:v>
                </c:pt>
                <c:pt idx="49">
                  <c:v>0.03020096165343758</c:v>
                </c:pt>
                <c:pt idx="50">
                  <c:v>0.080634570722007</c:v>
                </c:pt>
                <c:pt idx="51">
                  <c:v>0.07095785073041186</c:v>
                </c:pt>
                <c:pt idx="52">
                  <c:v>0.0798931890345902</c:v>
                </c:pt>
                <c:pt idx="53">
                  <c:v>0.08179346142473046</c:v>
                </c:pt>
                <c:pt idx="54">
                  <c:v>0.041102384345960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7</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7</c:v>
                </c:pt>
                <c:pt idx="1">
                  <c:v>6.833300000000017</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7</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7</c:v>
                </c:pt>
                <c:pt idx="1">
                  <c:v>6.833300000000017</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4.83957817029633</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4.83957817029633</c:v>
                </c:pt>
                <c:pt idx="1">
                  <c:v>14.83957817029633</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7</c:v>
                </c:pt>
                <c:pt idx="5">
                  <c:v>6.833300000000017</c:v>
                </c:pt>
                <c:pt idx="6">
                  <c:v>14.83957817029633</c:v>
                </c:pt>
              </c:numCache>
            </c:numRef>
          </c:xVal>
          <c:yVal>
            <c:numRef>
              <c:f>Sheet1!$B$34:$B$40</c:f>
              <c:numCache>
                <c:formatCode>General</c:formatCode>
                <c:ptCount val="7"/>
                <c:pt idx="0">
                  <c:v>1.2866444377395994e-06</c:v>
                </c:pt>
                <c:pt idx="1">
                  <c:v>5.380712332483284e-07</c:v>
                </c:pt>
                <c:pt idx="2">
                  <c:v>5.380712332483284e-07</c:v>
                </c:pt>
                <c:pt idx="3">
                  <c:v>5.380712332483284e-07</c:v>
                </c:pt>
                <c:pt idx="4">
                  <c:v>1.2866444377395972e-06</c:v>
                </c:pt>
                <c:pt idx="5">
                  <c:v>1.2866444377395972e-06</c:v>
                </c:pt>
                <c:pt idx="6">
                  <c:v>3.147655874651847e-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889254714157438</c:v>
                </c:pt>
                <c:pt idx="1">
                  <c:v>1.7038454481113527</c:v>
                </c:pt>
                <c:pt idx="2">
                  <c:v>1.6057708935497417</c:v>
                </c:pt>
                <c:pt idx="3">
                  <c:v>1.722721369696006</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8586702003615072</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8586702003615072</c:v>
                </c:pt>
                <c:pt idx="1">
                  <c:v>0.8586702003615072</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8586702003615072</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8586702003615072</c:v>
                </c:pt>
                <c:pt idx="1">
                  <c:v>0.8586702003615072</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9349295852965036</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9349295852965036</c:v>
                </c:pt>
                <c:pt idx="1">
                  <c:v>1.9349295852965036</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889254714157438</c:v>
                </c:pt>
                <c:pt idx="1">
                  <c:v>1.7038454481113527</c:v>
                </c:pt>
                <c:pt idx="2">
                  <c:v>1.6057708935497417</c:v>
                </c:pt>
                <c:pt idx="3">
                  <c:v>1.722721369696006</c:v>
                </c:pt>
                <c:pt idx="4">
                  <c:v>0.8586702003615072</c:v>
                </c:pt>
                <c:pt idx="5">
                  <c:v>0.8586702003615072</c:v>
                </c:pt>
                <c:pt idx="6">
                  <c:v>1.9349295852965036</c:v>
                </c:pt>
              </c:numCache>
            </c:numRef>
          </c:xVal>
          <c:yVal>
            <c:numRef>
              <c:f>Sheet1!$B$34:$B$40</c:f>
              <c:numCache>
                <c:formatCode>General</c:formatCode>
                <c:ptCount val="7"/>
                <c:pt idx="0">
                  <c:v>1.2590261493230122e-06</c:v>
                </c:pt>
                <c:pt idx="1">
                  <c:v>5.234381330502097e-07</c:v>
                </c:pt>
                <c:pt idx="2">
                  <c:v>6.120009708407212e-07</c:v>
                </c:pt>
                <c:pt idx="3">
                  <c:v>5.063928842706407e-07</c:v>
                </c:pt>
                <c:pt idx="4">
                  <c:v>1.2866444377395972e-06</c:v>
                </c:pt>
                <c:pt idx="5">
                  <c:v>1.2866444377395972e-06</c:v>
                </c:pt>
                <c:pt idx="6">
                  <c:v>3.147655874651847e-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7</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7</c:v>
                </c:pt>
                <c:pt idx="1">
                  <c:v>6.833300000000017</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7</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7</c:v>
                </c:pt>
                <c:pt idx="1">
                  <c:v>6.833300000000017</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4.83957817029633</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4.83957817029633</c:v>
                </c:pt>
                <c:pt idx="1">
                  <c:v>14.83957817029633</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7</c:v>
                </c:pt>
                <c:pt idx="5">
                  <c:v>6.833300000000017</c:v>
                </c:pt>
                <c:pt idx="6">
                  <c:v>14.83957817029633</c:v>
                </c:pt>
              </c:numCache>
            </c:numRef>
          </c:xVal>
          <c:yVal>
            <c:numRef>
              <c:f>Sheet1!$B$34:$B$40</c:f>
              <c:numCache>
                <c:formatCode>General</c:formatCode>
                <c:ptCount val="7"/>
                <c:pt idx="0">
                  <c:v>1.2866444377395994e-06</c:v>
                </c:pt>
                <c:pt idx="1">
                  <c:v>5.380712332483284e-07</c:v>
                </c:pt>
                <c:pt idx="2">
                  <c:v>5.380712332483284e-07</c:v>
                </c:pt>
                <c:pt idx="3">
                  <c:v>5.380712332483284e-07</c:v>
                </c:pt>
                <c:pt idx="4">
                  <c:v>1.2866444377395972e-06</c:v>
                </c:pt>
                <c:pt idx="5">
                  <c:v>1.2866444377395972e-06</c:v>
                </c:pt>
                <c:pt idx="6">
                  <c:v>3.147655874651847e-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5492741507644326</c:v>
                </c:pt>
                <c:pt idx="1">
                  <c:v>1.0480321181535286</c:v>
                </c:pt>
                <c:pt idx="2">
                  <c:v>0.963948332369385</c:v>
                </c:pt>
                <c:pt idx="3">
                  <c:v>1.0852596692462455</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5228030366027391</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5228030366027391</c:v>
                </c:pt>
                <c:pt idx="1">
                  <c:v>0.5228030366027391</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5228030366027391</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5228030366027391</c:v>
                </c:pt>
                <c:pt idx="1">
                  <c:v>0.5228030366027391</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1958902871894153</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1958902871894153</c:v>
                </c:pt>
                <c:pt idx="1">
                  <c:v>1.1958902871894153</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5492741507644326</c:v>
                </c:pt>
                <c:pt idx="1">
                  <c:v>1.0480321181535286</c:v>
                </c:pt>
                <c:pt idx="2">
                  <c:v>0.963948332369385</c:v>
                </c:pt>
                <c:pt idx="3">
                  <c:v>1.0852596692462455</c:v>
                </c:pt>
                <c:pt idx="4">
                  <c:v>0.5228030366027391</c:v>
                </c:pt>
                <c:pt idx="5">
                  <c:v>0.5228030366027391</c:v>
                </c:pt>
                <c:pt idx="6">
                  <c:v>1.1958902871894153</c:v>
                </c:pt>
              </c:numCache>
            </c:numRef>
          </c:xVal>
          <c:yVal>
            <c:numRef>
              <c:f>Sheet1!$B$34:$B$40</c:f>
              <c:numCache>
                <c:formatCode>General</c:formatCode>
                <c:ptCount val="7"/>
                <c:pt idx="0">
                  <c:v>1.248422474725849e-06</c:v>
                </c:pt>
                <c:pt idx="1">
                  <c:v>5.282597922670516e-07</c:v>
                </c:pt>
                <c:pt idx="2">
                  <c:v>6.496693910722366e-07</c:v>
                </c:pt>
                <c:pt idx="3">
                  <c:v>4.745064794194441e-07</c:v>
                </c:pt>
                <c:pt idx="4">
                  <c:v>1.2866444377395972e-06</c:v>
                </c:pt>
                <c:pt idx="5">
                  <c:v>1.2866444377395972e-06</c:v>
                </c:pt>
                <c:pt idx="6">
                  <c:v>3.147655874651849e-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Tartar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1.2866444377395972e-06</c:v>
                </c:pt>
                <c:pt idx="1">
                  <c:v>9.84682524814615e-07</c:v>
                </c:pt>
                <c:pt idx="2">
                  <c:v>3.4072943357138965e-07</c:v>
                </c:pt>
                <c:pt idx="3">
                  <c:v>2.888017413589797e-07</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7</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7</c:v>
                </c:pt>
                <c:pt idx="1">
                  <c:v>6.833300000000017</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7</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7</c:v>
                </c:pt>
                <c:pt idx="1">
                  <c:v>6.833300000000017</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4.83957817029633</c:v>
                </c:pt>
              </c:numCache>
            </c:numRef>
          </c:xVal>
          <c:yVal>
            <c:numRef>
              <c:f>Sheet1!$B$26:$B$27</c:f>
              <c:numCache>
                <c:formatCode>General</c:formatCode>
                <c:ptCount val="2"/>
                <c:pt idx="0">
                  <c:v>3.147655874651847e-07</c:v>
                </c:pt>
                <c:pt idx="1">
                  <c:v>3.147655874651847e-07</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4.83957817029633</c:v>
                </c:pt>
                <c:pt idx="1">
                  <c:v>14.83957817029633</c:v>
                </c:pt>
              </c:numCache>
            </c:numRef>
          </c:xVal>
          <c:yVal>
            <c:numRef>
              <c:f>Sheet1!$B$30:$B$31</c:f>
              <c:numCache>
                <c:formatCode>General</c:formatCode>
                <c:ptCount val="2"/>
                <c:pt idx="0">
                  <c:v>3.147655874651847e-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7</c:v>
                </c:pt>
                <c:pt idx="5">
                  <c:v>6.833300000000017</c:v>
                </c:pt>
                <c:pt idx="6">
                  <c:v>14.83957817029633</c:v>
                </c:pt>
              </c:numCache>
            </c:numRef>
          </c:xVal>
          <c:yVal>
            <c:numRef>
              <c:f>Sheet1!$B$34:$B$40</c:f>
              <c:numCache>
                <c:formatCode>General</c:formatCode>
                <c:ptCount val="7"/>
                <c:pt idx="0">
                  <c:v>1.2866444377395994e-06</c:v>
                </c:pt>
                <c:pt idx="1">
                  <c:v>5.380712332483284e-07</c:v>
                </c:pt>
                <c:pt idx="2">
                  <c:v>5.380712332483284e-07</c:v>
                </c:pt>
                <c:pt idx="3">
                  <c:v>5.380712332483284e-07</c:v>
                </c:pt>
                <c:pt idx="4">
                  <c:v>1.2866444377395972e-06</c:v>
                </c:pt>
                <c:pt idx="5">
                  <c:v>1.2866444377395972e-06</c:v>
                </c:pt>
                <c:pt idx="6">
                  <c:v>3.147655874651847e-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139308718378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49341112418857547</c:v>
                </c:pt>
                <c:pt idx="1">
                  <c:v>0.9841700040123854</c:v>
                </c:pt>
                <c:pt idx="2">
                  <c:v>0.9944387922923345</c:v>
                </c:pt>
                <c:pt idx="3">
                  <c:v>1.03207367418228</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488559781450541</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488559781450541</c:v>
                </c:pt>
                <c:pt idx="1">
                  <c:v>0.488559781450541</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488559781450541</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488559781450541</c:v>
                </c:pt>
                <c:pt idx="1">
                  <c:v>0.488559781450541</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0218592613501831</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0218592613501831</c:v>
                </c:pt>
                <c:pt idx="1">
                  <c:v>1.0218592613501831</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49341112418857547</c:v>
                </c:pt>
                <c:pt idx="1">
                  <c:v>0.9841700040123854</c:v>
                </c:pt>
                <c:pt idx="2">
                  <c:v>0.9944387922923345</c:v>
                </c:pt>
                <c:pt idx="3">
                  <c:v>1.03207367418228</c:v>
                </c:pt>
                <c:pt idx="4">
                  <c:v>0.488559781450541</c:v>
                </c:pt>
                <c:pt idx="5">
                  <c:v>0.488559781450541</c:v>
                </c:pt>
                <c:pt idx="6">
                  <c:v>1.0218592613501831</c:v>
                </c:pt>
              </c:numCache>
            </c:numRef>
          </c:xVal>
          <c:yVal>
            <c:numRef>
              <c:f>Sheet1!$B$34:$B$40</c:f>
              <c:numCache>
                <c:formatCode>General</c:formatCode>
                <c:ptCount val="7"/>
                <c:pt idx="0">
                  <c:v>2.8294588144565413e-05</c:v>
                </c:pt>
                <c:pt idx="1">
                  <c:v>6.116836733285402e-06</c:v>
                </c:pt>
                <c:pt idx="2">
                  <c:v>5.652782707712723e-06</c:v>
                </c:pt>
                <c:pt idx="3">
                  <c:v>3.952034969337104e-06</c:v>
                </c:pt>
                <c:pt idx="4">
                  <c:v>2.8513823858229267e-05</c:v>
                </c:pt>
                <c:pt idx="5">
                  <c:v>2.8513823858229267e-05</c:v>
                </c:pt>
                <c:pt idx="6">
                  <c:v>4.413631728796173e-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t More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5</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5</c:v>
                </c:pt>
                <c:pt idx="1">
                  <c:v>6.8333000000000155</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5</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5</c:v>
                </c:pt>
                <c:pt idx="1">
                  <c:v>6.8333000000000155</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3.19911944062337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3.199119440623372</c:v>
                </c:pt>
                <c:pt idx="1">
                  <c:v>13.19911944062337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5</c:v>
                </c:pt>
                <c:pt idx="5">
                  <c:v>6.8333000000000155</c:v>
                </c:pt>
                <c:pt idx="6">
                  <c:v>13.199119440623372</c:v>
                </c:pt>
              </c:numCache>
            </c:numRef>
          </c:xVal>
          <c:yVal>
            <c:numRef>
              <c:f>Sheet1!$B$34:$B$40</c:f>
              <c:numCache>
                <c:formatCode>General</c:formatCode>
                <c:ptCount val="7"/>
                <c:pt idx="0">
                  <c:v>2.8513823858229324e-05</c:v>
                </c:pt>
                <c:pt idx="1">
                  <c:v>5.167472898890477e-06</c:v>
                </c:pt>
                <c:pt idx="2">
                  <c:v>5.167472898890477e-06</c:v>
                </c:pt>
                <c:pt idx="3">
                  <c:v>5.16747289889047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8185357322536595</c:v>
                </c:pt>
                <c:pt idx="1">
                  <c:v>1.5155047796689205</c:v>
                </c:pt>
                <c:pt idx="2">
                  <c:v>1.6252641054171302</c:v>
                </c:pt>
                <c:pt idx="3">
                  <c:v>1.5718137521612439</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8217981333758382</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8217981333758382</c:v>
                </c:pt>
                <c:pt idx="1">
                  <c:v>0.8217981333758382</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8217981333758382</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8217981333758382</c:v>
                </c:pt>
                <c:pt idx="1">
                  <c:v>0.8217981333758382</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593925133235871</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593925133235871</c:v>
                </c:pt>
                <c:pt idx="1">
                  <c:v>1.593925133235871</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8185357322536595</c:v>
                </c:pt>
                <c:pt idx="1">
                  <c:v>1.5155047796689205</c:v>
                </c:pt>
                <c:pt idx="2">
                  <c:v>1.6252641054171302</c:v>
                </c:pt>
                <c:pt idx="3">
                  <c:v>1.5718137521612439</c:v>
                </c:pt>
                <c:pt idx="4">
                  <c:v>0.8217981333758382</c:v>
                </c:pt>
                <c:pt idx="5">
                  <c:v>0.8217981333758382</c:v>
                </c:pt>
                <c:pt idx="6">
                  <c:v>1.593925133235871</c:v>
                </c:pt>
              </c:numCache>
            </c:numRef>
          </c:xVal>
          <c:yVal>
            <c:numRef>
              <c:f>Sheet1!$B$34:$B$40</c:f>
              <c:numCache>
                <c:formatCode>General</c:formatCode>
                <c:ptCount val="7"/>
                <c:pt idx="0">
                  <c:v>2.861565230596136e-05</c:v>
                </c:pt>
                <c:pt idx="1">
                  <c:v>6.861345107766455e-06</c:v>
                </c:pt>
                <c:pt idx="2">
                  <c:v>3.4354568290138706e-06</c:v>
                </c:pt>
                <c:pt idx="3">
                  <c:v>5.103788312159048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5</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5</c:v>
                </c:pt>
                <c:pt idx="1">
                  <c:v>6.8333000000000155</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5</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5</c:v>
                </c:pt>
                <c:pt idx="1">
                  <c:v>6.8333000000000155</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3.19911944062337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3.199119440623372</c:v>
                </c:pt>
                <c:pt idx="1">
                  <c:v>13.19911944062337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5</c:v>
                </c:pt>
                <c:pt idx="5">
                  <c:v>6.8333000000000155</c:v>
                </c:pt>
                <c:pt idx="6">
                  <c:v>13.199119440623372</c:v>
                </c:pt>
              </c:numCache>
            </c:numRef>
          </c:xVal>
          <c:yVal>
            <c:numRef>
              <c:f>Sheet1!$B$34:$B$40</c:f>
              <c:numCache>
                <c:formatCode>General</c:formatCode>
                <c:ptCount val="7"/>
                <c:pt idx="0">
                  <c:v>2.8513823858229324e-05</c:v>
                </c:pt>
                <c:pt idx="1">
                  <c:v>5.167472898890477e-06</c:v>
                </c:pt>
                <c:pt idx="2">
                  <c:v>5.167472898890477e-06</c:v>
                </c:pt>
                <c:pt idx="3">
                  <c:v>5.16747289889047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5681727475305153</c:v>
                </c:pt>
                <c:pt idx="1">
                  <c:v>1.0607482354861084</c:v>
                </c:pt>
                <c:pt idx="2">
                  <c:v>1.1044654387276558</c:v>
                </c:pt>
                <c:pt idx="3">
                  <c:v>1.1084678416425788</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5679995818142762</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5679995818142762</c:v>
                </c:pt>
                <c:pt idx="1">
                  <c:v>0.5679995818142762</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5679995818142762</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5679995818142762</c:v>
                </c:pt>
                <c:pt idx="1">
                  <c:v>0.5679995818142762</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108181496354888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1081814963548882</c:v>
                </c:pt>
                <c:pt idx="1">
                  <c:v>1.108181496354888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5681727475305153</c:v>
                </c:pt>
                <c:pt idx="1">
                  <c:v>1.0607482354861084</c:v>
                </c:pt>
                <c:pt idx="2">
                  <c:v>1.1044654387276558</c:v>
                </c:pt>
                <c:pt idx="3">
                  <c:v>1.1084678416425788</c:v>
                </c:pt>
                <c:pt idx="4">
                  <c:v>0.5679995818142762</c:v>
                </c:pt>
                <c:pt idx="5">
                  <c:v>0.5679995818142762</c:v>
                </c:pt>
                <c:pt idx="6">
                  <c:v>1.1081814963548882</c:v>
                </c:pt>
              </c:numCache>
            </c:numRef>
          </c:xVal>
          <c:yVal>
            <c:numRef>
              <c:f>Sheet1!$B$34:$B$40</c:f>
              <c:numCache>
                <c:formatCode>General</c:formatCode>
                <c:ptCount val="7"/>
                <c:pt idx="0">
                  <c:v>2.8506098077489013e-05</c:v>
                </c:pt>
                <c:pt idx="1">
                  <c:v>6.529864556093415e-06</c:v>
                </c:pt>
                <c:pt idx="2">
                  <c:v>4.579423474816606e-06</c:v>
                </c:pt>
                <c:pt idx="3">
                  <c:v>4.40085644650156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Paysan Bret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1685836081396284</c:v>
                </c:pt>
                <c:pt idx="1">
                  <c:v>1.136056249720095</c:v>
                </c:pt>
                <c:pt idx="2">
                  <c:v>1.2540144545028489</c:v>
                </c:pt>
                <c:pt idx="3">
                  <c:v>0.9125622767704803</c:v>
                </c:pt>
                <c:pt idx="4">
                  <c:v>0.9966608312260908</c:v>
                </c:pt>
                <c:pt idx="5">
                  <c:v>1.0937808864897742</c:v>
                </c:pt>
                <c:pt idx="6">
                  <c:v>1.1335826377295493</c:v>
                </c:pt>
                <c:pt idx="7">
                  <c:v>1.0607599283734392</c:v>
                </c:pt>
                <c:pt idx="8">
                  <c:v>0.9726102342040321</c:v>
                </c:pt>
                <c:pt idx="9">
                  <c:v>1.1746735074626866</c:v>
                </c:pt>
                <c:pt idx="10">
                  <c:v>1.0925772016363187</c:v>
                </c:pt>
                <c:pt idx="11">
                  <c:v>1.2197537408737138</c:v>
                </c:pt>
                <c:pt idx="12">
                  <c:v>1.1978199481714757</c:v>
                </c:pt>
                <c:pt idx="13">
                  <c:v>0.9479194129536866</c:v>
                </c:pt>
                <c:pt idx="14">
                  <c:v>0.8463993616596849</c:v>
                </c:pt>
                <c:pt idx="15">
                  <c:v>1.04601560501407</c:v>
                </c:pt>
                <c:pt idx="16">
                  <c:v>1.0476169942109292</c:v>
                </c:pt>
                <c:pt idx="17">
                  <c:v>1.085727026527305</c:v>
                </c:pt>
                <c:pt idx="18">
                  <c:v>1.1426805743262756</c:v>
                </c:pt>
                <c:pt idx="19">
                  <c:v>1.1698700065293524</c:v>
                </c:pt>
                <c:pt idx="20">
                  <c:v>1.2205382746190965</c:v>
                </c:pt>
                <c:pt idx="21">
                  <c:v>1.131661376106288</c:v>
                </c:pt>
                <c:pt idx="22">
                  <c:v>1.0555417443546717</c:v>
                </c:pt>
                <c:pt idx="23">
                  <c:v>0.9175630544798902</c:v>
                </c:pt>
                <c:pt idx="24">
                  <c:v>0.9770025639033486</c:v>
                </c:pt>
                <c:pt idx="25">
                  <c:v>1.079461694532193</c:v>
                </c:pt>
                <c:pt idx="26">
                  <c:v>1.0983696861195562</c:v>
                </c:pt>
                <c:pt idx="27">
                  <c:v>1.1156343332034802</c:v>
                </c:pt>
                <c:pt idx="28">
                  <c:v>1.2382027839909664</c:v>
                </c:pt>
                <c:pt idx="29">
                  <c:v>1.161398254763257</c:v>
                </c:pt>
                <c:pt idx="30">
                  <c:v>1.5008991314772537</c:v>
                </c:pt>
                <c:pt idx="31">
                  <c:v>1.1994563583525404</c:v>
                </c:pt>
                <c:pt idx="32">
                  <c:v>0.7405619905619907</c:v>
                </c:pt>
                <c:pt idx="33">
                  <c:v>0.8413594959025759</c:v>
                </c:pt>
                <c:pt idx="34">
                  <c:v>1.0456860536074732</c:v>
                </c:pt>
                <c:pt idx="35">
                  <c:v>1.0369590353485298</c:v>
                </c:pt>
                <c:pt idx="36">
                  <c:v>1.2339425708050942</c:v>
                </c:pt>
                <c:pt idx="37">
                  <c:v>1.2498188278747926</c:v>
                </c:pt>
                <c:pt idx="38">
                  <c:v>1.2561534485729053</c:v>
                </c:pt>
                <c:pt idx="39">
                  <c:v>1.2227736008470314</c:v>
                </c:pt>
                <c:pt idx="40">
                  <c:v>0.9598180511423815</c:v>
                </c:pt>
                <c:pt idx="41">
                  <c:v>1.042361447272203</c:v>
                </c:pt>
                <c:pt idx="42">
                  <c:v>1.1028740174768368</c:v>
                </c:pt>
                <c:pt idx="43">
                  <c:v>0.9815146160900002</c:v>
                </c:pt>
                <c:pt idx="44">
                  <c:v>0.8888077929913681</c:v>
                </c:pt>
                <c:pt idx="45">
                  <c:v>0.8817423224279382</c:v>
                </c:pt>
                <c:pt idx="46">
                  <c:v>1.0644944810593162</c:v>
                </c:pt>
                <c:pt idx="47">
                  <c:v>1.15871267347049</c:v>
                </c:pt>
                <c:pt idx="48">
                  <c:v>1.2159586086687921</c:v>
                </c:pt>
                <c:pt idx="49">
                  <c:v>1.0723771918219471</c:v>
                </c:pt>
                <c:pt idx="50">
                  <c:v>1.0144319102277892</c:v>
                </c:pt>
                <c:pt idx="51">
                  <c:v>1.0910036201186166</c:v>
                </c:pt>
                <c:pt idx="52">
                  <c:v>1.1733276973475641</c:v>
                </c:pt>
                <c:pt idx="53">
                  <c:v>1.147957457605616</c:v>
                </c:pt>
                <c:pt idx="54">
                  <c:v>1.3622881851116044</c:v>
                </c:pt>
                <c:pt idx="55">
                  <c:v>0.9559726096880549</c:v>
                </c:pt>
                <c:pt idx="56">
                  <c:v>0.7743564865019119</c:v>
                </c:pt>
                <c:pt idx="57">
                  <c:v>1.0981558316388298</c:v>
                </c:pt>
                <c:pt idx="58">
                  <c:v>1.0414239692818326</c:v>
                </c:pt>
                <c:pt idx="59">
                  <c:v>1.1234395506325792</c:v>
                </c:pt>
                <c:pt idx="60">
                  <c:v>1.023513287791507</c:v>
                </c:pt>
                <c:pt idx="61">
                  <c:v>1.0599936551951028</c:v>
                </c:pt>
                <c:pt idx="62">
                  <c:v>0.9577274659863947</c:v>
                </c:pt>
                <c:pt idx="63">
                  <c:v>1.1903054684161707</c:v>
                </c:pt>
                <c:pt idx="64">
                  <c:v>1.152010102264729</c:v>
                </c:pt>
                <c:pt idx="65">
                  <c:v>0.9336740793878527</c:v>
                </c:pt>
                <c:pt idx="66">
                  <c:v>0.8541735433858464</c:v>
                </c:pt>
                <c:pt idx="67">
                  <c:v>1.1677071682765632</c:v>
                </c:pt>
                <c:pt idx="68">
                  <c:v>1.1263745083875112</c:v>
                </c:pt>
                <c:pt idx="69">
                  <c:v>1.2565148765743612</c:v>
                </c:pt>
                <c:pt idx="70">
                  <c:v>1.2606356582152847</c:v>
                </c:pt>
                <c:pt idx="71">
                  <c:v>1.2924763678532523</c:v>
                </c:pt>
                <c:pt idx="72">
                  <c:v>1.0669965560307308</c:v>
                </c:pt>
                <c:pt idx="73">
                  <c:v>1.1130910691773557</c:v>
                </c:pt>
                <c:pt idx="74">
                  <c:v>0.700325546861614</c:v>
                </c:pt>
                <c:pt idx="75">
                  <c:v>0.8077117327117328</c:v>
                </c:pt>
                <c:pt idx="76">
                  <c:v>1.3595508450011973</c:v>
                </c:pt>
                <c:pt idx="77">
                  <c:v>1.3531462333825701</c:v>
                </c:pt>
                <c:pt idx="78">
                  <c:v>1.1763405657328148</c:v>
                </c:pt>
                <c:pt idx="79">
                  <c:v>0.9339728760320053</c:v>
                </c:pt>
                <c:pt idx="80">
                  <c:v>0.9815176826017415</c:v>
                </c:pt>
                <c:pt idx="81">
                  <c:v>1.0030938083258947</c:v>
                </c:pt>
                <c:pt idx="82">
                  <c:v>1.124588189450565</c:v>
                </c:pt>
                <c:pt idx="83">
                  <c:v>0.920840171382626</c:v>
                </c:pt>
                <c:pt idx="84">
                  <c:v>0.8924700575857765</c:v>
                </c:pt>
                <c:pt idx="85">
                  <c:v>1.0141297434810261</c:v>
                </c:pt>
                <c:pt idx="86">
                  <c:v>1.3334052602555804</c:v>
                </c:pt>
                <c:pt idx="87">
                  <c:v>1.134586810559596</c:v>
                </c:pt>
                <c:pt idx="88">
                  <c:v>1.0124599035503088</c:v>
                </c:pt>
                <c:pt idx="89">
                  <c:v>1.0764142014217533</c:v>
                </c:pt>
                <c:pt idx="90">
                  <c:v>1.3123903664722893</c:v>
                </c:pt>
                <c:pt idx="91">
                  <c:v>1.1324214361290181</c:v>
                </c:pt>
                <c:pt idx="92">
                  <c:v>1.0826120564827817</c:v>
                </c:pt>
                <c:pt idx="93">
                  <c:v>0.9570573002589561</c:v>
                </c:pt>
                <c:pt idx="94">
                  <c:v>1.141026528258362</c:v>
                </c:pt>
                <c:pt idx="95">
                  <c:v>0.8789509350757061</c:v>
                </c:pt>
                <c:pt idx="96">
                  <c:v>0.8638729828214471</c:v>
                </c:pt>
                <c:pt idx="97">
                  <c:v>0.9974280967916259</c:v>
                </c:pt>
                <c:pt idx="98">
                  <c:v>0.8949408110473224</c:v>
                </c:pt>
                <c:pt idx="99">
                  <c:v>1.1764385024255508</c:v>
                </c:pt>
                <c:pt idx="100">
                  <c:v>0.9416453987367343</c:v>
                </c:pt>
                <c:pt idx="101">
                  <c:v>0.9713515730271252</c:v>
                </c:pt>
                <c:pt idx="102">
                  <c:v>0.95941982272361</c:v>
                </c:pt>
                <c:pt idx="103">
                  <c:v>0.9777289279687361</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1122842846931482</c:v>
                </c:pt>
                <c:pt idx="1">
                  <c:v>1.1284694095075678</c:v>
                </c:pt>
                <c:pt idx="2">
                  <c:v>1.322606258195686</c:v>
                </c:pt>
                <c:pt idx="3">
                  <c:v>0.8310899224019882</c:v>
                </c:pt>
                <c:pt idx="4">
                  <c:v>0.8064138304874743</c:v>
                </c:pt>
                <c:pt idx="5">
                  <c:v>1.0917650163116486</c:v>
                </c:pt>
                <c:pt idx="6">
                  <c:v>1.1717877589565011</c:v>
                </c:pt>
                <c:pt idx="7">
                  <c:v>1.0359337911156323</c:v>
                </c:pt>
                <c:pt idx="8">
                  <c:v>1.0755059678256358</c:v>
                </c:pt>
                <c:pt idx="9">
                  <c:v>0.8244058600108518</c:v>
                </c:pt>
                <c:pt idx="10">
                  <c:v>0.8840251302153251</c:v>
                </c:pt>
                <c:pt idx="11">
                  <c:v>1.112509778820852</c:v>
                </c:pt>
                <c:pt idx="12">
                  <c:v>1.031281925544522</c:v>
                </c:pt>
                <c:pt idx="13">
                  <c:v>0.8474956907165724</c:v>
                </c:pt>
                <c:pt idx="14">
                  <c:v>0.8783160789388548</c:v>
                </c:pt>
                <c:pt idx="15">
                  <c:v>1.0297639675022139</c:v>
                </c:pt>
                <c:pt idx="16">
                  <c:v>1.1366225407449086</c:v>
                </c:pt>
                <c:pt idx="17">
                  <c:v>1.0416653904662725</c:v>
                </c:pt>
                <c:pt idx="18">
                  <c:v>1.264088424810789</c:v>
                </c:pt>
                <c:pt idx="19">
                  <c:v>1.2462463901836962</c:v>
                </c:pt>
                <c:pt idx="20">
                  <c:v>1.0197931965815337</c:v>
                </c:pt>
                <c:pt idx="21">
                  <c:v>1.0620016591031085</c:v>
                </c:pt>
                <c:pt idx="22">
                  <c:v>1.0827134867093353</c:v>
                </c:pt>
                <c:pt idx="23">
                  <c:v>1.0267043700775642</c:v>
                </c:pt>
                <c:pt idx="24">
                  <c:v>0.9504837322209259</c:v>
                </c:pt>
                <c:pt idx="25">
                  <c:v>1.0207218055870184</c:v>
                </c:pt>
                <c:pt idx="26">
                  <c:v>1.2087025830877496</c:v>
                </c:pt>
                <c:pt idx="27">
                  <c:v>1.0399975341874634</c:v>
                </c:pt>
                <c:pt idx="28">
                  <c:v>1.0629403380166973</c:v>
                </c:pt>
                <c:pt idx="29">
                  <c:v>0.7883986844918697</c:v>
                </c:pt>
                <c:pt idx="30">
                  <c:v>0.9488697983305916</c:v>
                </c:pt>
                <c:pt idx="31">
                  <c:v>0.8905920483051036</c:v>
                </c:pt>
                <c:pt idx="32">
                  <c:v>0.9026244870117525</c:v>
                </c:pt>
                <c:pt idx="33">
                  <c:v>1.008134091612504</c:v>
                </c:pt>
                <c:pt idx="34">
                  <c:v>1.1170788709141393</c:v>
                </c:pt>
                <c:pt idx="35">
                  <c:v>1.1003900593016986</c:v>
                </c:pt>
                <c:pt idx="36">
                  <c:v>1.0305948305286348</c:v>
                </c:pt>
                <c:pt idx="37">
                  <c:v>0.9515539217105199</c:v>
                </c:pt>
                <c:pt idx="38">
                  <c:v>1.2842713172101305</c:v>
                </c:pt>
                <c:pt idx="39">
                  <c:v>1.1575063425726106</c:v>
                </c:pt>
                <c:pt idx="40">
                  <c:v>1.0064185491093642</c:v>
                </c:pt>
                <c:pt idx="41">
                  <c:v>1.0550249294167118</c:v>
                </c:pt>
                <c:pt idx="42">
                  <c:v>1.0781549062141125</c:v>
                </c:pt>
                <c:pt idx="43">
                  <c:v>1.02215450050974</c:v>
                </c:pt>
                <c:pt idx="44">
                  <c:v>1.0040559469799921</c:v>
                </c:pt>
                <c:pt idx="45">
                  <c:v>1.079228310315151</c:v>
                </c:pt>
                <c:pt idx="46">
                  <c:v>1.0199331675474044</c:v>
                </c:pt>
                <c:pt idx="47">
                  <c:v>1.1820171636615813</c:v>
                </c:pt>
                <c:pt idx="48">
                  <c:v>1.073186674480458</c:v>
                </c:pt>
                <c:pt idx="49">
                  <c:v>1.0812226988697577</c:v>
                </c:pt>
                <c:pt idx="50">
                  <c:v>0.9684912500559458</c:v>
                </c:pt>
                <c:pt idx="51">
                  <c:v>1.057904390425112</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877078319038107</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877078319038107</c:v>
                </c:pt>
                <c:pt idx="1">
                  <c:v>0.877078319038107</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888941408700843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8889414087008436</c:v>
                </c:pt>
                <c:pt idx="1">
                  <c:v>0.888941408700843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1311060565158626</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1311060565158626</c:v>
                </c:pt>
                <c:pt idx="1">
                  <c:v>1.1311060565158626</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1122842846931482</c:v>
                </c:pt>
                <c:pt idx="1">
                  <c:v>1.1284694095075678</c:v>
                </c:pt>
                <c:pt idx="2">
                  <c:v>1.322606258195686</c:v>
                </c:pt>
                <c:pt idx="3">
                  <c:v>0.8310899224019882</c:v>
                </c:pt>
                <c:pt idx="4">
                  <c:v>0.8064138304874743</c:v>
                </c:pt>
                <c:pt idx="5">
                  <c:v>1.0917650163116486</c:v>
                </c:pt>
                <c:pt idx="6">
                  <c:v>1.1717877589565011</c:v>
                </c:pt>
                <c:pt idx="7">
                  <c:v>1.0359337911156323</c:v>
                </c:pt>
                <c:pt idx="8">
                  <c:v>1.0755059678256358</c:v>
                </c:pt>
                <c:pt idx="9">
                  <c:v>0.8244058600108518</c:v>
                </c:pt>
                <c:pt idx="10">
                  <c:v>0.8840251302153251</c:v>
                </c:pt>
                <c:pt idx="11">
                  <c:v>1.112509778820852</c:v>
                </c:pt>
                <c:pt idx="12">
                  <c:v>1.031281925544522</c:v>
                </c:pt>
                <c:pt idx="13">
                  <c:v>0.8474956907165724</c:v>
                </c:pt>
                <c:pt idx="14">
                  <c:v>0.8783160789388548</c:v>
                </c:pt>
                <c:pt idx="15">
                  <c:v>1.0297639675022139</c:v>
                </c:pt>
                <c:pt idx="16">
                  <c:v>1.1366225407449086</c:v>
                </c:pt>
                <c:pt idx="17">
                  <c:v>1.0416653904662725</c:v>
                </c:pt>
                <c:pt idx="18">
                  <c:v>1.264088424810789</c:v>
                </c:pt>
                <c:pt idx="19">
                  <c:v>1.2462463901836962</c:v>
                </c:pt>
                <c:pt idx="20">
                  <c:v>1.0197931965815337</c:v>
                </c:pt>
                <c:pt idx="21">
                  <c:v>1.0620016591031085</c:v>
                </c:pt>
                <c:pt idx="22">
                  <c:v>1.0827134867093353</c:v>
                </c:pt>
                <c:pt idx="23">
                  <c:v>1.0267043700775642</c:v>
                </c:pt>
                <c:pt idx="24">
                  <c:v>0.9504837322209259</c:v>
                </c:pt>
                <c:pt idx="25">
                  <c:v>1.0207218055870184</c:v>
                </c:pt>
                <c:pt idx="26">
                  <c:v>1.2087025830877496</c:v>
                </c:pt>
                <c:pt idx="27">
                  <c:v>1.0399975341874634</c:v>
                </c:pt>
                <c:pt idx="28">
                  <c:v>1.0629403380166973</c:v>
                </c:pt>
                <c:pt idx="29">
                  <c:v>0.7883986844918697</c:v>
                </c:pt>
                <c:pt idx="30">
                  <c:v>0.9488697983305916</c:v>
                </c:pt>
                <c:pt idx="31">
                  <c:v>0.8905920483051036</c:v>
                </c:pt>
                <c:pt idx="32">
                  <c:v>0.9026244870117525</c:v>
                </c:pt>
                <c:pt idx="33">
                  <c:v>1.008134091612504</c:v>
                </c:pt>
                <c:pt idx="34">
                  <c:v>1.1170788709141393</c:v>
                </c:pt>
                <c:pt idx="35">
                  <c:v>1.1003900593016986</c:v>
                </c:pt>
                <c:pt idx="36">
                  <c:v>1.0305948305286348</c:v>
                </c:pt>
                <c:pt idx="37">
                  <c:v>0.9515539217105199</c:v>
                </c:pt>
                <c:pt idx="38">
                  <c:v>1.2842713172101305</c:v>
                </c:pt>
                <c:pt idx="39">
                  <c:v>1.1575063425726106</c:v>
                </c:pt>
                <c:pt idx="40">
                  <c:v>1.0064185491093642</c:v>
                </c:pt>
                <c:pt idx="41">
                  <c:v>1.0550249294167118</c:v>
                </c:pt>
                <c:pt idx="42">
                  <c:v>1.0781549062141125</c:v>
                </c:pt>
                <c:pt idx="43">
                  <c:v>1.02215450050974</c:v>
                </c:pt>
                <c:pt idx="44">
                  <c:v>1.0040559469799921</c:v>
                </c:pt>
                <c:pt idx="45">
                  <c:v>1.079228310315151</c:v>
                </c:pt>
                <c:pt idx="46">
                  <c:v>1.0199331675474044</c:v>
                </c:pt>
                <c:pt idx="47">
                  <c:v>1.1820171636615813</c:v>
                </c:pt>
                <c:pt idx="48">
                  <c:v>1.073186674480458</c:v>
                </c:pt>
                <c:pt idx="49">
                  <c:v>1.0812226988697577</c:v>
                </c:pt>
                <c:pt idx="50">
                  <c:v>0.9684912500559458</c:v>
                </c:pt>
                <c:pt idx="51">
                  <c:v>1.057904390425112</c:v>
                </c:pt>
                <c:pt idx="52">
                  <c:v>0.8889414087008436</c:v>
                </c:pt>
                <c:pt idx="53">
                  <c:v>0.877078319038107</c:v>
                </c:pt>
                <c:pt idx="54">
                  <c:v>1.1311060565158626</c:v>
                </c:pt>
              </c:numCache>
            </c:numRef>
          </c:xVal>
          <c:yVal>
            <c:numRef>
              <c:f>Sheet1!$B$186:$B$240</c:f>
              <c:numCache>
                <c:formatCode>General</c:formatCode>
                <c:ptCount val="55"/>
                <c:pt idx="0">
                  <c:v>0.044117323484503035</c:v>
                </c:pt>
                <c:pt idx="1">
                  <c:v>0.041524731951420035</c:v>
                </c:pt>
                <c:pt idx="2">
                  <c:v>0.010427192949446024</c:v>
                </c:pt>
                <c:pt idx="3">
                  <c:v>0.08916004828185753</c:v>
                </c:pt>
                <c:pt idx="4">
                  <c:v>0.09311275347880171</c:v>
                </c:pt>
                <c:pt idx="5">
                  <c:v>0.047404173730077825</c:v>
                </c:pt>
                <c:pt idx="6">
                  <c:v>0.03458584286059391</c:v>
                </c:pt>
                <c:pt idx="7">
                  <c:v>0.056347420284215244</c:v>
                </c:pt>
                <c:pt idx="8">
                  <c:v>0.05000860662288245</c:v>
                </c:pt>
                <c:pt idx="9">
                  <c:v>0.09023072544749916</c:v>
                </c:pt>
                <c:pt idx="10">
                  <c:v>0.08068069621306301</c:v>
                </c:pt>
                <c:pt idx="11">
                  <c:v>0.04408120302371277</c:v>
                </c:pt>
                <c:pt idx="12">
                  <c:v>0.057092572850598655</c:v>
                </c:pt>
                <c:pt idx="13">
                  <c:v>0.0865321132789579</c:v>
                </c:pt>
                <c:pt idx="14">
                  <c:v>0.08159519258989212</c:v>
                </c:pt>
                <c:pt idx="15">
                  <c:v>0.057335724832012935</c:v>
                </c:pt>
                <c:pt idx="16">
                  <c:v>0.040218734051718164</c:v>
                </c:pt>
                <c:pt idx="17">
                  <c:v>0.05542931207572893</c:v>
                </c:pt>
                <c:pt idx="18">
                  <c:v>0.01980079007072877</c:v>
                </c:pt>
                <c:pt idx="19">
                  <c:v>0.02265879137980506</c:v>
                </c:pt>
                <c:pt idx="20">
                  <c:v>0.05893287879675935</c:v>
                </c:pt>
                <c:pt idx="21">
                  <c:v>0.052171775387757885</c:v>
                </c:pt>
                <c:pt idx="22">
                  <c:v>0.04885408031266408</c:v>
                </c:pt>
                <c:pt idx="23">
                  <c:v>0.05782582215710258</c:v>
                </c:pt>
                <c:pt idx="24">
                  <c:v>0.07003511820017375</c:v>
                </c:pt>
                <c:pt idx="25">
                  <c:v>0.058784130864768136</c:v>
                </c:pt>
                <c:pt idx="26">
                  <c:v>0.028672693497503593</c:v>
                </c:pt>
                <c:pt idx="27">
                  <c:v>0.05569647529605748</c:v>
                </c:pt>
                <c:pt idx="28">
                  <c:v>0.052021414421651174</c:v>
                </c:pt>
                <c:pt idx="29">
                  <c:v>0.09599848438980757</c:v>
                </c:pt>
                <c:pt idx="30">
                  <c:v>0.07029364393828288</c:v>
                </c:pt>
                <c:pt idx="31">
                  <c:v>0.07962878364314316</c:v>
                </c:pt>
                <c:pt idx="32">
                  <c:v>0.077701384313766</c:v>
                </c:pt>
                <c:pt idx="33">
                  <c:v>0.06080047618464618</c:v>
                </c:pt>
                <c:pt idx="34">
                  <c:v>0.04334930941085785</c:v>
                </c:pt>
                <c:pt idx="35">
                  <c:v>0.046022583307706866</c:v>
                </c:pt>
                <c:pt idx="36">
                  <c:v>0.05720263420267582</c:v>
                </c:pt>
                <c:pt idx="37">
                  <c:v>0.06986369139677684</c:v>
                </c:pt>
                <c:pt idx="38">
                  <c:v>0.016567821740386346</c:v>
                </c:pt>
                <c:pt idx="39">
                  <c:v>0.036873491526999036</c:v>
                </c:pt>
                <c:pt idx="40">
                  <c:v>0.06107527795598139</c:v>
                </c:pt>
                <c:pt idx="41">
                  <c:v>0.05328933305388392</c:v>
                </c:pt>
                <c:pt idx="42">
                  <c:v>0.04958429013991625</c:v>
                </c:pt>
                <c:pt idx="43">
                  <c:v>0.05855463663665875</c:v>
                </c:pt>
                <c:pt idx="44">
                  <c:v>0.061453728066616115</c:v>
                </c:pt>
                <c:pt idx="45">
                  <c:v>0.049412348408490764</c:v>
                </c:pt>
                <c:pt idx="46">
                  <c:v>0.05891045774377676</c:v>
                </c:pt>
                <c:pt idx="47">
                  <c:v>0.03294726000559842</c:v>
                </c:pt>
                <c:pt idx="48">
                  <c:v>0.05038011937662326</c:v>
                </c:pt>
                <c:pt idx="49">
                  <c:v>0.04909288007323612</c:v>
                </c:pt>
                <c:pt idx="50">
                  <c:v>0.06715060919537941</c:v>
                </c:pt>
                <c:pt idx="51">
                  <c:v>0.05282809062814925</c:v>
                </c:pt>
                <c:pt idx="52">
                  <c:v>0.07989318903459022</c:v>
                </c:pt>
                <c:pt idx="53">
                  <c:v>0.08179346142473048</c:v>
                </c:pt>
                <c:pt idx="54">
                  <c:v>0.04110238434596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esiden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5</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5</c:v>
                </c:pt>
                <c:pt idx="1">
                  <c:v>6.8333000000000155</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5</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5</c:v>
                </c:pt>
                <c:pt idx="1">
                  <c:v>6.8333000000000155</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3.19911944062337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3.199119440623372</c:v>
                </c:pt>
                <c:pt idx="1">
                  <c:v>13.19911944062337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5</c:v>
                </c:pt>
                <c:pt idx="5">
                  <c:v>6.8333000000000155</c:v>
                </c:pt>
                <c:pt idx="6">
                  <c:v>13.199119440623372</c:v>
                </c:pt>
              </c:numCache>
            </c:numRef>
          </c:xVal>
          <c:yVal>
            <c:numRef>
              <c:f>Sheet1!$B$34:$B$40</c:f>
              <c:numCache>
                <c:formatCode>General</c:formatCode>
                <c:ptCount val="7"/>
                <c:pt idx="0">
                  <c:v>2.8513823858229324e-05</c:v>
                </c:pt>
                <c:pt idx="1">
                  <c:v>5.167472898890477e-06</c:v>
                </c:pt>
                <c:pt idx="2">
                  <c:v>5.167472898890477e-06</c:v>
                </c:pt>
                <c:pt idx="3">
                  <c:v>5.16747289889047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6440944363525645</c:v>
                </c:pt>
                <c:pt idx="1">
                  <c:v>1.4298251049525197</c:v>
                </c:pt>
                <c:pt idx="2">
                  <c:v>1.3495657522810822</c:v>
                </c:pt>
                <c:pt idx="3">
                  <c:v>1.3562758149347756</c:v>
                </c:pt>
                <c:pt idx="4">
                  <c:v>1.359483115500621</c:v>
                </c:pt>
                <c:pt idx="5">
                  <c:v>1.5546161451961589</c:v>
                </c:pt>
                <c:pt idx="6">
                  <c:v>1.5703534141973847</c:v>
                </c:pt>
                <c:pt idx="7">
                  <c:v>1.3267978118320474</c:v>
                </c:pt>
                <c:pt idx="8">
                  <c:v>1.2975984783587182</c:v>
                </c:pt>
                <c:pt idx="9">
                  <c:v>1.1688855929535389</c:v>
                </c:pt>
                <c:pt idx="10">
                  <c:v>1.3121803644745371</c:v>
                </c:pt>
                <c:pt idx="11">
                  <c:v>1.3043535892073403</c:v>
                </c:pt>
                <c:pt idx="12">
                  <c:v>1.3605933422339584</c:v>
                </c:pt>
                <c:pt idx="13">
                  <c:v>1.3724256510525636</c:v>
                </c:pt>
                <c:pt idx="14">
                  <c:v>1.3314830704745129</c:v>
                </c:pt>
                <c:pt idx="15">
                  <c:v>1.3322373732184531</c:v>
                </c:pt>
                <c:pt idx="16">
                  <c:v>1.310135819384047</c:v>
                </c:pt>
                <c:pt idx="17">
                  <c:v>1.3553239263158685</c:v>
                </c:pt>
                <c:pt idx="18">
                  <c:v>1.3256829394006333</c:v>
                </c:pt>
                <c:pt idx="19">
                  <c:v>1.359737733482542</c:v>
                </c:pt>
                <c:pt idx="20">
                  <c:v>1.459058790159093</c:v>
                </c:pt>
                <c:pt idx="21">
                  <c:v>1.3093980677983776</c:v>
                </c:pt>
                <c:pt idx="22">
                  <c:v>1.3501300804474468</c:v>
                </c:pt>
                <c:pt idx="23">
                  <c:v>1.3699910885555906</c:v>
                </c:pt>
                <c:pt idx="24">
                  <c:v>1.3725877030334495</c:v>
                </c:pt>
                <c:pt idx="25">
                  <c:v>1.4176813169152591</c:v>
                </c:pt>
                <c:pt idx="26">
                  <c:v>1.350111865082588</c:v>
                </c:pt>
                <c:pt idx="27">
                  <c:v>0.9001946086737751</c:v>
                </c:pt>
                <c:pt idx="28">
                  <c:v>0.9338782472188258</c:v>
                </c:pt>
                <c:pt idx="29">
                  <c:v>1.3403641983105121</c:v>
                </c:pt>
                <c:pt idx="30">
                  <c:v>1.3817090719818745</c:v>
                </c:pt>
                <c:pt idx="31">
                  <c:v>1.5097411561691114</c:v>
                </c:pt>
                <c:pt idx="32">
                  <c:v>1.6010565498243443</c:v>
                </c:pt>
                <c:pt idx="33">
                  <c:v>1.3710854304584843</c:v>
                </c:pt>
                <c:pt idx="34">
                  <c:v>1.1467634659699582</c:v>
                </c:pt>
                <c:pt idx="35">
                  <c:v>1.1260947749295631</c:v>
                </c:pt>
                <c:pt idx="36">
                  <c:v>1.3655891697748308</c:v>
                </c:pt>
                <c:pt idx="37">
                  <c:v>1.5842120364392798</c:v>
                </c:pt>
                <c:pt idx="38">
                  <c:v>1.5574967451352968</c:v>
                </c:pt>
                <c:pt idx="39">
                  <c:v>1.3136348780469267</c:v>
                </c:pt>
                <c:pt idx="40">
                  <c:v>1.3076111140641966</c:v>
                </c:pt>
                <c:pt idx="41">
                  <c:v>1.392279476248942</c:v>
                </c:pt>
                <c:pt idx="42">
                  <c:v>1.2721017955770875</c:v>
                </c:pt>
                <c:pt idx="43">
                  <c:v>1.3657486244503478</c:v>
                </c:pt>
                <c:pt idx="44">
                  <c:v>1.340139626381103</c:v>
                </c:pt>
                <c:pt idx="45">
                  <c:v>1.3809204388622887</c:v>
                </c:pt>
                <c:pt idx="46">
                  <c:v>1.3593262448056078</c:v>
                </c:pt>
                <c:pt idx="47">
                  <c:v>1.5867381111855325</c:v>
                </c:pt>
                <c:pt idx="48">
                  <c:v>1.4051079021443118</c:v>
                </c:pt>
                <c:pt idx="49">
                  <c:v>1.3549438501881539</c:v>
                </c:pt>
                <c:pt idx="50">
                  <c:v>1.346626602793953</c:v>
                </c:pt>
                <c:pt idx="51">
                  <c:v>1.3764530883938866</c:v>
                </c:pt>
                <c:pt idx="52">
                  <c:v>1.3016560355408044</c:v>
                </c:pt>
                <c:pt idx="53">
                  <c:v>1.2590942464290482</c:v>
                </c:pt>
                <c:pt idx="54">
                  <c:v>1.4089475150392639</c:v>
                </c:pt>
                <c:pt idx="55">
                  <c:v>1.3553651212187796</c:v>
                </c:pt>
                <c:pt idx="56">
                  <c:v>1.1251771799698513</c:v>
                </c:pt>
                <c:pt idx="57">
                  <c:v>1.1154470811152215</c:v>
                </c:pt>
                <c:pt idx="58">
                  <c:v>1.3846023870601065</c:v>
                </c:pt>
                <c:pt idx="59">
                  <c:v>1.4265780939593098</c:v>
                </c:pt>
                <c:pt idx="60">
                  <c:v>1.458659115209837</c:v>
                </c:pt>
                <c:pt idx="61">
                  <c:v>1.4786087976921949</c:v>
                </c:pt>
                <c:pt idx="62">
                  <c:v>1.4085837307282745</c:v>
                </c:pt>
                <c:pt idx="63">
                  <c:v>1.358107105770657</c:v>
                </c:pt>
                <c:pt idx="64">
                  <c:v>1.3172069518057439</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3265816779406814</c:v>
                </c:pt>
                <c:pt idx="1">
                  <c:v>1.3938488916399088</c:v>
                </c:pt>
                <c:pt idx="2">
                  <c:v>1.3678133231799707</c:v>
                </c:pt>
                <c:pt idx="3">
                  <c:v>1.3807844592922542</c:v>
                </c:pt>
                <c:pt idx="4">
                  <c:v>1.3312788337331611</c:v>
                </c:pt>
                <c:pt idx="5">
                  <c:v>1.3796174392034017</c:v>
                </c:pt>
                <c:pt idx="6">
                  <c:v>1.4089349416530625</c:v>
                </c:pt>
                <c:pt idx="7">
                  <c:v>1.615478292638373</c:v>
                </c:pt>
                <c:pt idx="8">
                  <c:v>1.558967815358618</c:v>
                </c:pt>
                <c:pt idx="9">
                  <c:v>1.3088994849195497</c:v>
                </c:pt>
                <c:pt idx="10">
                  <c:v>1.3832222909082585</c:v>
                </c:pt>
                <c:pt idx="11">
                  <c:v>1.422117046167021</c:v>
                </c:pt>
                <c:pt idx="12">
                  <c:v>0.9411634306680935</c:v>
                </c:pt>
                <c:pt idx="13">
                  <c:v>1.0186548771887252</c:v>
                </c:pt>
                <c:pt idx="14">
                  <c:v>1.6172893670041943</c:v>
                </c:pt>
                <c:pt idx="15">
                  <c:v>1.5409729675760677</c:v>
                </c:pt>
                <c:pt idx="16">
                  <c:v>1.3475768202699785</c:v>
                </c:pt>
                <c:pt idx="17">
                  <c:v>1.4563352660958455</c:v>
                </c:pt>
                <c:pt idx="18">
                  <c:v>1.6430705263709577</c:v>
                </c:pt>
                <c:pt idx="19">
                  <c:v>1.588395362922144</c:v>
                </c:pt>
                <c:pt idx="20">
                  <c:v>1.3912001022195164</c:v>
                </c:pt>
                <c:pt idx="21">
                  <c:v>1.4057170145995361</c:v>
                </c:pt>
                <c:pt idx="22">
                  <c:v>1.3797114585693782</c:v>
                </c:pt>
                <c:pt idx="23">
                  <c:v>1.3599083244659083</c:v>
                </c:pt>
                <c:pt idx="24">
                  <c:v>1.4087654055383103</c:v>
                </c:pt>
                <c:pt idx="25">
                  <c:v>1.4093291957278218</c:v>
                </c:pt>
                <c:pt idx="26">
                  <c:v>1.5090152565880721</c:v>
                </c:pt>
                <c:pt idx="27">
                  <c:v>1.5072436939619787</c:v>
                </c:pt>
                <c:pt idx="28">
                  <c:v>1.4637147427144697</c:v>
                </c:pt>
                <c:pt idx="29">
                  <c:v>1.480593958013313</c:v>
                </c:pt>
                <c:pt idx="30">
                  <c:v>1.4665002834288594</c:v>
                </c:pt>
                <c:pt idx="31">
                  <c:v>1.511551583024724</c:v>
                </c:pt>
                <c:pt idx="32">
                  <c:v>1.4358105783127002</c:v>
                </c:pt>
                <c:pt idx="33">
                  <c:v>1.4642275719420217</c:v>
                </c:pt>
                <c:pt idx="34">
                  <c:v>1.4991454203193055</c:v>
                </c:pt>
                <c:pt idx="35">
                  <c:v>1.4981646523258425</c:v>
                </c:pt>
                <c:pt idx="36">
                  <c:v>1.486208363959921</c:v>
                </c:pt>
                <c:pt idx="37">
                  <c:v>1.4832566996423762</c:v>
                </c:pt>
                <c:pt idx="38">
                  <c:v>1.5020868373512741</c:v>
                </c:pt>
                <c:pt idx="39">
                  <c:v>1.41577867642718</c:v>
                </c:pt>
                <c:pt idx="40">
                  <c:v>1.5186966444755068</c:v>
                </c:pt>
                <c:pt idx="41">
                  <c:v>1.5239397224972109</c:v>
                </c:pt>
                <c:pt idx="42">
                  <c:v>1.5572023823915795</c:v>
                </c:pt>
                <c:pt idx="43">
                  <c:v>1.5815201387298368</c:v>
                </c:pt>
                <c:pt idx="44">
                  <c:v>1.566596090805791</c:v>
                </c:pt>
                <c:pt idx="45">
                  <c:v>1.5385528733142395</c:v>
                </c:pt>
                <c:pt idx="46">
                  <c:v>1.5632822125672785</c:v>
                </c:pt>
                <c:pt idx="47">
                  <c:v>1.5555949522136443</c:v>
                </c:pt>
                <c:pt idx="48">
                  <c:v>1.516135384421497</c:v>
                </c:pt>
                <c:pt idx="49">
                  <c:v>1.5098279810239859</c:v>
                </c:pt>
                <c:pt idx="50">
                  <c:v>1.5332494865712514</c:v>
                </c:pt>
                <c:pt idx="51">
                  <c:v>1.492581141338968</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3686435678548532</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3686435678548532</c:v>
                </c:pt>
                <c:pt idx="1">
                  <c:v>1.3686435678548532</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686435678548532</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686435678548532</c:v>
                </c:pt>
                <c:pt idx="1">
                  <c:v>1.3686435678548532</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4866683301096373</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4866683301096373</c:v>
                </c:pt>
                <c:pt idx="1">
                  <c:v>1.4866683301096373</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3265816779406814</c:v>
                </c:pt>
                <c:pt idx="1">
                  <c:v>1.3938488916399088</c:v>
                </c:pt>
                <c:pt idx="2">
                  <c:v>1.3678133231799707</c:v>
                </c:pt>
                <c:pt idx="3">
                  <c:v>1.3807844592922542</c:v>
                </c:pt>
                <c:pt idx="4">
                  <c:v>1.3312788337331611</c:v>
                </c:pt>
                <c:pt idx="5">
                  <c:v>1.3796174392034017</c:v>
                </c:pt>
                <c:pt idx="6">
                  <c:v>1.4089349416530625</c:v>
                </c:pt>
                <c:pt idx="7">
                  <c:v>1.615478292638373</c:v>
                </c:pt>
                <c:pt idx="8">
                  <c:v>1.558967815358618</c:v>
                </c:pt>
                <c:pt idx="9">
                  <c:v>1.3088994849195497</c:v>
                </c:pt>
                <c:pt idx="10">
                  <c:v>1.3832222909082585</c:v>
                </c:pt>
                <c:pt idx="11">
                  <c:v>1.422117046167021</c:v>
                </c:pt>
                <c:pt idx="12">
                  <c:v>0.9411634306680935</c:v>
                </c:pt>
                <c:pt idx="13">
                  <c:v>1.0186548771887252</c:v>
                </c:pt>
                <c:pt idx="14">
                  <c:v>1.6172893670041943</c:v>
                </c:pt>
                <c:pt idx="15">
                  <c:v>1.5409729675760677</c:v>
                </c:pt>
                <c:pt idx="16">
                  <c:v>1.3475768202699785</c:v>
                </c:pt>
                <c:pt idx="17">
                  <c:v>1.4563352660958455</c:v>
                </c:pt>
                <c:pt idx="18">
                  <c:v>1.6430705263709577</c:v>
                </c:pt>
                <c:pt idx="19">
                  <c:v>1.588395362922144</c:v>
                </c:pt>
                <c:pt idx="20">
                  <c:v>1.3912001022195164</c:v>
                </c:pt>
                <c:pt idx="21">
                  <c:v>1.4057170145995361</c:v>
                </c:pt>
                <c:pt idx="22">
                  <c:v>1.3797114585693782</c:v>
                </c:pt>
                <c:pt idx="23">
                  <c:v>1.3599083244659083</c:v>
                </c:pt>
                <c:pt idx="24">
                  <c:v>1.4087654055383103</c:v>
                </c:pt>
                <c:pt idx="25">
                  <c:v>1.4093291957278218</c:v>
                </c:pt>
                <c:pt idx="26">
                  <c:v>1.5090152565880721</c:v>
                </c:pt>
                <c:pt idx="27">
                  <c:v>1.5072436939619787</c:v>
                </c:pt>
                <c:pt idx="28">
                  <c:v>1.4637147427144697</c:v>
                </c:pt>
                <c:pt idx="29">
                  <c:v>1.480593958013313</c:v>
                </c:pt>
                <c:pt idx="30">
                  <c:v>1.4665002834288594</c:v>
                </c:pt>
                <c:pt idx="31">
                  <c:v>1.511551583024724</c:v>
                </c:pt>
                <c:pt idx="32">
                  <c:v>1.4358105783127002</c:v>
                </c:pt>
                <c:pt idx="33">
                  <c:v>1.4642275719420217</c:v>
                </c:pt>
                <c:pt idx="34">
                  <c:v>1.4991454203193055</c:v>
                </c:pt>
                <c:pt idx="35">
                  <c:v>1.4981646523258425</c:v>
                </c:pt>
                <c:pt idx="36">
                  <c:v>1.486208363959921</c:v>
                </c:pt>
                <c:pt idx="37">
                  <c:v>1.4832566996423762</c:v>
                </c:pt>
                <c:pt idx="38">
                  <c:v>1.5020868373512741</c:v>
                </c:pt>
                <c:pt idx="39">
                  <c:v>1.41577867642718</c:v>
                </c:pt>
                <c:pt idx="40">
                  <c:v>1.5186966444755068</c:v>
                </c:pt>
                <c:pt idx="41">
                  <c:v>1.5239397224972109</c:v>
                </c:pt>
                <c:pt idx="42">
                  <c:v>1.5572023823915795</c:v>
                </c:pt>
                <c:pt idx="43">
                  <c:v>1.5815201387298368</c:v>
                </c:pt>
                <c:pt idx="44">
                  <c:v>1.566596090805791</c:v>
                </c:pt>
                <c:pt idx="45">
                  <c:v>1.5385528733142395</c:v>
                </c:pt>
                <c:pt idx="46">
                  <c:v>1.5632822125672785</c:v>
                </c:pt>
                <c:pt idx="47">
                  <c:v>1.5555949522136443</c:v>
                </c:pt>
                <c:pt idx="48">
                  <c:v>1.516135384421497</c:v>
                </c:pt>
                <c:pt idx="49">
                  <c:v>1.5098279810239859</c:v>
                </c:pt>
                <c:pt idx="50">
                  <c:v>1.5332494865712514</c:v>
                </c:pt>
                <c:pt idx="51">
                  <c:v>1.492581141338968</c:v>
                </c:pt>
                <c:pt idx="52">
                  <c:v>1.3686435678548532</c:v>
                </c:pt>
                <c:pt idx="53">
                  <c:v>1.3686435678548532</c:v>
                </c:pt>
                <c:pt idx="54">
                  <c:v>1.4866683301096373</c:v>
                </c:pt>
              </c:numCache>
            </c:numRef>
          </c:xVal>
          <c:yVal>
            <c:numRef>
              <c:f>Sheet1!$B$147:$B$201</c:f>
              <c:numCache>
                <c:formatCode>General</c:formatCode>
                <c:ptCount val="55"/>
                <c:pt idx="0">
                  <c:v>0.010225004178996244</c:v>
                </c:pt>
                <c:pt idx="1">
                  <c:v>0.008012687156461112</c:v>
                </c:pt>
                <c:pt idx="2">
                  <c:v>0.008868957665194271</c:v>
                </c:pt>
                <c:pt idx="3">
                  <c:v>0.008442356596936339</c:v>
                </c:pt>
                <c:pt idx="4">
                  <c:v>0.010070521822053875</c:v>
                </c:pt>
                <c:pt idx="5">
                  <c:v>0.00848073812437336</c:v>
                </c:pt>
                <c:pt idx="6">
                  <c:v>0.007516529765489825</c:v>
                </c:pt>
                <c:pt idx="7">
                  <c:v>0.0007236310240707408</c:v>
                </c:pt>
                <c:pt idx="8">
                  <c:v>0.0025821752384421887</c:v>
                </c:pt>
                <c:pt idx="9">
                  <c:v>0.01080654479091029</c:v>
                </c:pt>
                <c:pt idx="10">
                  <c:v>0.008362179998478207</c:v>
                </c:pt>
                <c:pt idx="11">
                  <c:v>0.0070829902652592355</c:v>
                </c:pt>
                <c:pt idx="12">
                  <c:v>0.022900827991906663</c:v>
                </c:pt>
                <c:pt idx="13">
                  <c:v>0.020352251399972793</c:v>
                </c:pt>
                <c:pt idx="14">
                  <c:v>0.0006640675245849631</c:v>
                </c:pt>
                <c:pt idx="15">
                  <c:v>0.003173998593059918</c:v>
                </c:pt>
                <c:pt idx="16">
                  <c:v>0.00953450566997021</c:v>
                </c:pt>
                <c:pt idx="17">
                  <c:v>0.005957604713125703</c:v>
                </c:pt>
                <c:pt idx="18">
                  <c:v>-0.0001838358534679424</c:v>
                </c:pt>
                <c:pt idx="19">
                  <c:v>0.0016143476620340616</c:v>
                </c:pt>
                <c:pt idx="20">
                  <c:v>0.008099801838363153</c:v>
                </c:pt>
                <c:pt idx="21">
                  <c:v>0.007622362524218683</c:v>
                </c:pt>
                <c:pt idx="22">
                  <c:v>0.008477645969483055</c:v>
                </c:pt>
                <c:pt idx="23">
                  <c:v>0.009128941129002283</c:v>
                </c:pt>
                <c:pt idx="24">
                  <c:v>0.007522105552146878</c:v>
                </c:pt>
                <c:pt idx="25">
                  <c:v>0.007503563344661193</c:v>
                </c:pt>
                <c:pt idx="26">
                  <c:v>0.004225039421599734</c:v>
                </c:pt>
                <c:pt idx="27">
                  <c:v>0.00428330343966532</c:v>
                </c:pt>
                <c:pt idx="28">
                  <c:v>0.005714904877009708</c:v>
                </c:pt>
                <c:pt idx="29">
                  <c:v>0.005159772989138819</c:v>
                </c:pt>
                <c:pt idx="30">
                  <c:v>0.0056232926516696854</c:v>
                </c:pt>
                <c:pt idx="31">
                  <c:v>0.004141623477309252</c:v>
                </c:pt>
                <c:pt idx="32">
                  <c:v>0.006632630682952556</c:v>
                </c:pt>
                <c:pt idx="33">
                  <c:v>0.005698038698564445</c:v>
                </c:pt>
                <c:pt idx="34">
                  <c:v>0.004549643423850502</c:v>
                </c:pt>
                <c:pt idx="35">
                  <c:v>0.004581899401283986</c:v>
                </c:pt>
                <c:pt idx="36">
                  <c:v>0.004975123660527693</c:v>
                </c:pt>
                <c:pt idx="37">
                  <c:v>0.005072199440174403</c:v>
                </c:pt>
                <c:pt idx="38">
                  <c:v>0.004452904661943473</c:v>
                </c:pt>
                <c:pt idx="39">
                  <c:v>0.007291449669171383</c:v>
                </c:pt>
                <c:pt idx="40">
                  <c:v>0.003906633201878708</c:v>
                </c:pt>
                <c:pt idx="41">
                  <c:v>0.003734196287667274</c:v>
                </c:pt>
                <c:pt idx="42">
                  <c:v>0.0026402376612829417</c:v>
                </c:pt>
                <c:pt idx="43">
                  <c:v>0.0018404633977384677</c:v>
                </c:pt>
                <c:pt idx="44">
                  <c:v>0.0023312927847727663</c:v>
                </c:pt>
                <c:pt idx="45">
                  <c:v>0.003253591836739095</c:v>
                </c:pt>
                <c:pt idx="46">
                  <c:v>0.002440281233000316</c:v>
                </c:pt>
                <c:pt idx="47">
                  <c:v>0.0026931036111211976</c:v>
                </c:pt>
                <c:pt idx="48">
                  <c:v>0.0039908691751711495</c:v>
                </c:pt>
                <c:pt idx="49">
                  <c:v>0.004198310142872037</c:v>
                </c:pt>
                <c:pt idx="50">
                  <c:v>0.003428012213671325</c:v>
                </c:pt>
                <c:pt idx="51">
                  <c:v>0.004765532641349587</c:v>
                </c:pt>
                <c:pt idx="52">
                  <c:v>0.008841652172278745</c:v>
                </c:pt>
                <c:pt idx="53">
                  <c:v>0.008841652172278745</c:v>
                </c:pt>
                <c:pt idx="54">
                  <c:v>0.00495999606884005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St More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9792</c:v>
                </c:pt>
                <c:pt idx="1">
                  <c:v>18.4599</c:v>
                </c:pt>
                <c:pt idx="2">
                  <c:v>18.4294</c:v>
                </c:pt>
                <c:pt idx="3">
                  <c:v>18.2571</c:v>
                </c:pt>
                <c:pt idx="4">
                  <c:v>18.39</c:v>
                </c:pt>
                <c:pt idx="5">
                  <c:v>18.5531</c:v>
                </c:pt>
                <c:pt idx="6">
                  <c:v>18.5911</c:v>
                </c:pt>
                <c:pt idx="7">
                  <c:v>18.3118</c:v>
                </c:pt>
                <c:pt idx="8">
                  <c:v>17.8739</c:v>
                </c:pt>
                <c:pt idx="9">
                  <c:v>16.7077</c:v>
                </c:pt>
                <c:pt idx="10">
                  <c:v>18.217</c:v>
                </c:pt>
                <c:pt idx="11">
                  <c:v>17.7126</c:v>
                </c:pt>
                <c:pt idx="12">
                  <c:v>18.4457</c:v>
                </c:pt>
                <c:pt idx="13">
                  <c:v>18.0393</c:v>
                </c:pt>
                <c:pt idx="14">
                  <c:v>17.5347</c:v>
                </c:pt>
                <c:pt idx="15">
                  <c:v>18.1528</c:v>
                </c:pt>
                <c:pt idx="16">
                  <c:v>17.5946</c:v>
                </c:pt>
                <c:pt idx="17">
                  <c:v>18.0479</c:v>
                </c:pt>
                <c:pt idx="18">
                  <c:v>18.0041</c:v>
                </c:pt>
                <c:pt idx="19">
                  <c:v>18.1045</c:v>
                </c:pt>
                <c:pt idx="20">
                  <c:v>17.4893</c:v>
                </c:pt>
                <c:pt idx="21">
                  <c:v>17.5788</c:v>
                </c:pt>
                <c:pt idx="22">
                  <c:v>18.0079</c:v>
                </c:pt>
                <c:pt idx="23">
                  <c:v>18.1406</c:v>
                </c:pt>
                <c:pt idx="24">
                  <c:v>18.5066</c:v>
                </c:pt>
                <c:pt idx="25">
                  <c:v>18.5247</c:v>
                </c:pt>
                <c:pt idx="26">
                  <c:v>18.2847</c:v>
                </c:pt>
                <c:pt idx="27">
                  <c:v>12.1655</c:v>
                </c:pt>
                <c:pt idx="28">
                  <c:v>12.3737</c:v>
                </c:pt>
                <c:pt idx="29">
                  <c:v>18.0409</c:v>
                </c:pt>
                <c:pt idx="30">
                  <c:v>18.0512</c:v>
                </c:pt>
                <c:pt idx="31">
                  <c:v>17.4979</c:v>
                </c:pt>
                <c:pt idx="32">
                  <c:v>18.3662</c:v>
                </c:pt>
                <c:pt idx="33">
                  <c:v>17.8322</c:v>
                </c:pt>
                <c:pt idx="34">
                  <c:v>14.8796</c:v>
                </c:pt>
                <c:pt idx="35">
                  <c:v>15.4677</c:v>
                </c:pt>
                <c:pt idx="36">
                  <c:v>17.7939</c:v>
                </c:pt>
                <c:pt idx="37">
                  <c:v>17.6684</c:v>
                </c:pt>
                <c:pt idx="38">
                  <c:v>17.705</c:v>
                </c:pt>
                <c:pt idx="39">
                  <c:v>17.2831</c:v>
                </c:pt>
                <c:pt idx="40">
                  <c:v>17.2198</c:v>
                </c:pt>
                <c:pt idx="41">
                  <c:v>18.2571</c:v>
                </c:pt>
                <c:pt idx="42">
                  <c:v>17.4353</c:v>
                </c:pt>
                <c:pt idx="43">
                  <c:v>18.0455</c:v>
                </c:pt>
                <c:pt idx="44">
                  <c:v>18.1211</c:v>
                </c:pt>
                <c:pt idx="45">
                  <c:v>17.9104</c:v>
                </c:pt>
                <c:pt idx="46">
                  <c:v>18.3838</c:v>
                </c:pt>
                <c:pt idx="47">
                  <c:v>18.4782</c:v>
                </c:pt>
                <c:pt idx="48">
                  <c:v>18.4197</c:v>
                </c:pt>
                <c:pt idx="49">
                  <c:v>18.2912</c:v>
                </c:pt>
                <c:pt idx="50">
                  <c:v>18.7779</c:v>
                </c:pt>
                <c:pt idx="51">
                  <c:v>18.5071</c:v>
                </c:pt>
                <c:pt idx="52">
                  <c:v>15.0599</c:v>
                </c:pt>
                <c:pt idx="53">
                  <c:v>15.091</c:v>
                </c:pt>
                <c:pt idx="54">
                  <c:v>18.7135</c:v>
                </c:pt>
                <c:pt idx="55">
                  <c:v>18.5048</c:v>
                </c:pt>
                <c:pt idx="56">
                  <c:v>15.003</c:v>
                </c:pt>
                <c:pt idx="57">
                  <c:v>14.835</c:v>
                </c:pt>
                <c:pt idx="58">
                  <c:v>18.0278</c:v>
                </c:pt>
                <c:pt idx="59">
                  <c:v>18.1679</c:v>
                </c:pt>
                <c:pt idx="60">
                  <c:v>17.4619</c:v>
                </c:pt>
                <c:pt idx="61">
                  <c:v>18.1446</c:v>
                </c:pt>
                <c:pt idx="62">
                  <c:v>18.2544</c:v>
                </c:pt>
                <c:pt idx="63">
                  <c:v>18.31</c:v>
                </c:pt>
                <c:pt idx="64">
                  <c:v>17.0984</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7.790205760028268</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7.790205760028268</c:v>
                </c:pt>
                <c:pt idx="1">
                  <c:v>17.790205760028268</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7.790205760028268</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7.790205760028268</c:v>
                </c:pt>
                <c:pt idx="1">
                  <c:v>17.790205760028268</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8.7400741504077</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8.7400741504077</c:v>
                </c:pt>
                <c:pt idx="1">
                  <c:v>18.7400741504077</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pt idx="52">
                  <c:v>17.790205760028268</c:v>
                </c:pt>
                <c:pt idx="53">
                  <c:v>17.790205760028268</c:v>
                </c:pt>
                <c:pt idx="54">
                  <c:v>18.7400741504077</c:v>
                </c:pt>
              </c:numCache>
            </c:numRef>
          </c:xVal>
          <c:yVal>
            <c:numRef>
              <c:f>Sheet1!$B$147:$B$201</c:f>
              <c:numCache>
                <c:formatCode>General</c:formatCode>
                <c:ptCount val="55"/>
                <c:pt idx="0">
                  <c:v>0.010696547104718707</c:v>
                </c:pt>
                <c:pt idx="1">
                  <c:v>0.007923843335588002</c:v>
                </c:pt>
                <c:pt idx="2">
                  <c:v>0.00960748954469906</c:v>
                </c:pt>
                <c:pt idx="3">
                  <c:v>0.008576051915622288</c:v>
                </c:pt>
                <c:pt idx="4">
                  <c:v>0.007839252373139954</c:v>
                </c:pt>
                <c:pt idx="5">
                  <c:v>0.007030938731969652</c:v>
                </c:pt>
                <c:pt idx="6">
                  <c:v>0.005361186690603689</c:v>
                </c:pt>
                <c:pt idx="7">
                  <c:v>0.005648060389340584</c:v>
                </c:pt>
                <c:pt idx="8">
                  <c:v>0.007649229196626209</c:v>
                </c:pt>
                <c:pt idx="9">
                  <c:v>0.006046496082030686</c:v>
                </c:pt>
                <c:pt idx="10">
                  <c:v>0.007475552099812571</c:v>
                </c:pt>
                <c:pt idx="11">
                  <c:v>0.005535272439409836</c:v>
                </c:pt>
                <c:pt idx="12">
                  <c:v>0.031227223208053434</c:v>
                </c:pt>
                <c:pt idx="13">
                  <c:v>0.026647868980068386</c:v>
                </c:pt>
                <c:pt idx="14">
                  <c:v>0.006220581830836833</c:v>
                </c:pt>
                <c:pt idx="15">
                  <c:v>0.005856064253524432</c:v>
                </c:pt>
                <c:pt idx="16">
                  <c:v>0.007580167009893252</c:v>
                </c:pt>
                <c:pt idx="17">
                  <c:v>0.004459291743150268</c:v>
                </c:pt>
                <c:pt idx="18">
                  <c:v>0.004673425387221694</c:v>
                </c:pt>
                <c:pt idx="19">
                  <c:v>0.0054482295650067625</c:v>
                </c:pt>
                <c:pt idx="20">
                  <c:v>0.005902241928677249</c:v>
                </c:pt>
                <c:pt idx="21">
                  <c:v>0.00575921373130131</c:v>
                </c:pt>
                <c:pt idx="22">
                  <c:v>0.006897309530421281</c:v>
                </c:pt>
                <c:pt idx="23">
                  <c:v>0.0068588962431260225</c:v>
                </c:pt>
                <c:pt idx="24">
                  <c:v>0.006616156959579428</c:v>
                </c:pt>
                <c:pt idx="25">
                  <c:v>0.005078399511791842</c:v>
                </c:pt>
                <c:pt idx="26">
                  <c:v>0.006402023315508029</c:v>
                </c:pt>
                <c:pt idx="27">
                  <c:v>0.005013832496976414</c:v>
                </c:pt>
                <c:pt idx="28">
                  <c:v>0.004879794643435534</c:v>
                </c:pt>
                <c:pt idx="29">
                  <c:v>0.004733905882112074</c:v>
                </c:pt>
                <c:pt idx="30">
                  <c:v>0.005422484489479101</c:v>
                </c:pt>
                <c:pt idx="31">
                  <c:v>0.005315826319435904</c:v>
                </c:pt>
                <c:pt idx="32">
                  <c:v>0.00480868919674006</c:v>
                </c:pt>
                <c:pt idx="33">
                  <c:v>0.005459671820796846</c:v>
                </c:pt>
                <c:pt idx="34">
                  <c:v>0.0037604968359706975</c:v>
                </c:pt>
                <c:pt idx="35">
                  <c:v>0.005152774174427319</c:v>
                </c:pt>
                <c:pt idx="36">
                  <c:v>0.0030457645010835005</c:v>
                </c:pt>
                <c:pt idx="37">
                  <c:v>0.003237422285567254</c:v>
                </c:pt>
                <c:pt idx="38">
                  <c:v>0.0027110785192237946</c:v>
                </c:pt>
                <c:pt idx="39">
                  <c:v>0.003139754459359115</c:v>
                </c:pt>
                <c:pt idx="40">
                  <c:v>0.002954635106755407</c:v>
                </c:pt>
                <c:pt idx="41">
                  <c:v>0.0022779074071709593</c:v>
                </c:pt>
                <c:pt idx="42">
                  <c:v>0.002584805053540473</c:v>
                </c:pt>
                <c:pt idx="43">
                  <c:v>0.002531271642522634</c:v>
                </c:pt>
                <c:pt idx="44">
                  <c:v>0.003228840593724705</c:v>
                </c:pt>
                <c:pt idx="45">
                  <c:v>0.003172037966766822</c:v>
                </c:pt>
                <c:pt idx="46">
                  <c:v>0.0027294678588864196</c:v>
                </c:pt>
                <c:pt idx="47">
                  <c:v>0.0026555018482434384</c:v>
                </c:pt>
                <c:pt idx="48">
                  <c:v>0.002882712356074929</c:v>
                </c:pt>
                <c:pt idx="49">
                  <c:v>0.002596655961323052</c:v>
                </c:pt>
                <c:pt idx="50">
                  <c:v>0.002828770293064567</c:v>
                </c:pt>
                <c:pt idx="51">
                  <c:v>0.0030257405534508675</c:v>
                </c:pt>
                <c:pt idx="52">
                  <c:v>0.008841652172278752</c:v>
                </c:pt>
                <c:pt idx="53">
                  <c:v>0.008841652172278752</c:v>
                </c:pt>
                <c:pt idx="54">
                  <c:v>0.00495999606884005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0"/>
          <c:min val="1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723334650982103</c:v>
                </c:pt>
                <c:pt idx="1">
                  <c:v>2.173184686381616</c:v>
                </c:pt>
                <c:pt idx="2">
                  <c:v>2.2180045733541944</c:v>
                </c:pt>
                <c:pt idx="3">
                  <c:v>2.4193125198770273</c:v>
                </c:pt>
                <c:pt idx="4">
                  <c:v>2.2837344460174354</c:v>
                </c:pt>
                <c:pt idx="5">
                  <c:v>2.5024413272187753</c:v>
                </c:pt>
                <c:pt idx="6">
                  <c:v>2.5269946989261927</c:v>
                </c:pt>
                <c:pt idx="7">
                  <c:v>2.418293230501044</c:v>
                </c:pt>
                <c:pt idx="8">
                  <c:v>2.235662734993558</c:v>
                </c:pt>
                <c:pt idx="9">
                  <c:v>2.2565775256618044</c:v>
                </c:pt>
                <c:pt idx="10">
                  <c:v>2.3857043701462826</c:v>
                </c:pt>
                <c:pt idx="11">
                  <c:v>2.2076177181743395</c:v>
                </c:pt>
                <c:pt idx="12">
                  <c:v>2.4355581963425097</c:v>
                </c:pt>
                <c:pt idx="13">
                  <c:v>2.3476444560124934</c:v>
                </c:pt>
                <c:pt idx="14">
                  <c:v>2.2286095577020846</c:v>
                </c:pt>
                <c:pt idx="15">
                  <c:v>2.3448685655234773</c:v>
                </c:pt>
                <c:pt idx="16">
                  <c:v>2.2852207343524737</c:v>
                </c:pt>
                <c:pt idx="17">
                  <c:v>2.2847756734859224</c:v>
                </c:pt>
                <c:pt idx="18">
                  <c:v>2.382503175947491</c:v>
                </c:pt>
                <c:pt idx="19">
                  <c:v>2.4248613752645256</c:v>
                </c:pt>
                <c:pt idx="20">
                  <c:v>2.107119191335044</c:v>
                </c:pt>
                <c:pt idx="21">
                  <c:v>2.1267936216033103</c:v>
                </c:pt>
                <c:pt idx="22">
                  <c:v>2.248598364237997</c:v>
                </c:pt>
                <c:pt idx="23">
                  <c:v>2.3385198458226446</c:v>
                </c:pt>
                <c:pt idx="24">
                  <c:v>2.3952422861876164</c:v>
                </c:pt>
                <c:pt idx="25">
                  <c:v>2.3689783495530516</c:v>
                </c:pt>
                <c:pt idx="26">
                  <c:v>2.322987600365891</c:v>
                </c:pt>
                <c:pt idx="27">
                  <c:v>1.598263200073571</c:v>
                </c:pt>
                <c:pt idx="28">
                  <c:v>1.5238546798029557</c:v>
                </c:pt>
                <c:pt idx="29">
                  <c:v>2.288612059013815</c:v>
                </c:pt>
                <c:pt idx="30">
                  <c:v>2.368581963233654</c:v>
                </c:pt>
                <c:pt idx="31">
                  <c:v>2.1255952380952383</c:v>
                </c:pt>
                <c:pt idx="32">
                  <c:v>2.3018749686669673</c:v>
                </c:pt>
                <c:pt idx="33">
                  <c:v>2.2862967331658033</c:v>
                </c:pt>
                <c:pt idx="34">
                  <c:v>1.9669261986278734</c:v>
                </c:pt>
                <c:pt idx="35">
                  <c:v>2.055836146628034</c:v>
                </c:pt>
                <c:pt idx="36">
                  <c:v>2.3603406422858053</c:v>
                </c:pt>
                <c:pt idx="37">
                  <c:v>2.351178357086776</c:v>
                </c:pt>
                <c:pt idx="38">
                  <c:v>2.1443191589860353</c:v>
                </c:pt>
                <c:pt idx="39">
                  <c:v>2.29112480943859</c:v>
                </c:pt>
                <c:pt idx="40">
                  <c:v>2.138972734612757</c:v>
                </c:pt>
                <c:pt idx="41">
                  <c:v>2.430553151833855</c:v>
                </c:pt>
                <c:pt idx="42">
                  <c:v>2.2433190514790082</c:v>
                </c:pt>
                <c:pt idx="43">
                  <c:v>2.313614626203572</c:v>
                </c:pt>
                <c:pt idx="44">
                  <c:v>2.220750254292332</c:v>
                </c:pt>
                <c:pt idx="45">
                  <c:v>2.306970992838374</c:v>
                </c:pt>
                <c:pt idx="46">
                  <c:v>2.502593283328115</c:v>
                </c:pt>
                <c:pt idx="47">
                  <c:v>2.345931671893052</c:v>
                </c:pt>
                <c:pt idx="48">
                  <c:v>2.2423124680447004</c:v>
                </c:pt>
                <c:pt idx="49">
                  <c:v>2.369541279649709</c:v>
                </c:pt>
                <c:pt idx="50">
                  <c:v>2.4302927548986615</c:v>
                </c:pt>
                <c:pt idx="51">
                  <c:v>2.2139798066800656</c:v>
                </c:pt>
                <c:pt idx="52">
                  <c:v>1.9474344385248021</c:v>
                </c:pt>
                <c:pt idx="53">
                  <c:v>1.961780955476113</c:v>
                </c:pt>
                <c:pt idx="54">
                  <c:v>2.3950520899992322</c:v>
                </c:pt>
                <c:pt idx="55">
                  <c:v>2.444329964995707</c:v>
                </c:pt>
                <c:pt idx="56">
                  <c:v>2.0032579813867786</c:v>
                </c:pt>
                <c:pt idx="57">
                  <c:v>1.9431527932412078</c:v>
                </c:pt>
                <c:pt idx="58">
                  <c:v>2.1972527941301934</c:v>
                </c:pt>
                <c:pt idx="59">
                  <c:v>2.4300656741971296</c:v>
                </c:pt>
                <c:pt idx="60">
                  <c:v>2.2002570467346243</c:v>
                </c:pt>
                <c:pt idx="61">
                  <c:v>2.244341092942137</c:v>
                </c:pt>
                <c:pt idx="62">
                  <c:v>2.277501216453943</c:v>
                </c:pt>
                <c:pt idx="63">
                  <c:v>2.421060982704818</c:v>
                </c:pt>
                <c:pt idx="64">
                  <c:v>2.1916249022648913</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2.0809386628255915</c:v>
                </c:pt>
                <c:pt idx="1">
                  <c:v>2.3808944808627617</c:v>
                </c:pt>
                <c:pt idx="2">
                  <c:v>2.079185466915499</c:v>
                </c:pt>
                <c:pt idx="3">
                  <c:v>2.183347803225767</c:v>
                </c:pt>
                <c:pt idx="4">
                  <c:v>2.351648781505483</c:v>
                </c:pt>
                <c:pt idx="5">
                  <c:v>2.253918611550633</c:v>
                </c:pt>
                <c:pt idx="6">
                  <c:v>2.373766442132607</c:v>
                </c:pt>
                <c:pt idx="7">
                  <c:v>2.367118294097404</c:v>
                </c:pt>
                <c:pt idx="8">
                  <c:v>2.2676197642337597</c:v>
                </c:pt>
                <c:pt idx="9">
                  <c:v>2.199833293641343</c:v>
                </c:pt>
                <c:pt idx="10">
                  <c:v>2.2638646015488386</c:v>
                </c:pt>
                <c:pt idx="11">
                  <c:v>2.386238838140203</c:v>
                </c:pt>
                <c:pt idx="12">
                  <c:v>1.583371913580247</c:v>
                </c:pt>
                <c:pt idx="13">
                  <c:v>1.6461282060708553</c:v>
                </c:pt>
                <c:pt idx="14">
                  <c:v>2.2522881407710638</c:v>
                </c:pt>
                <c:pt idx="15">
                  <c:v>2.2012408186550667</c:v>
                </c:pt>
                <c:pt idx="16">
                  <c:v>2.3225156554768507</c:v>
                </c:pt>
                <c:pt idx="17">
                  <c:v>2.297935067308278</c:v>
                </c:pt>
                <c:pt idx="18">
                  <c:v>2.393063877969034</c:v>
                </c:pt>
                <c:pt idx="19">
                  <c:v>2.4134015941935067</c:v>
                </c:pt>
                <c:pt idx="20">
                  <c:v>2.4043932347821566</c:v>
                </c:pt>
                <c:pt idx="21">
                  <c:v>2.321980842672009</c:v>
                </c:pt>
                <c:pt idx="22">
                  <c:v>2.259245516388373</c:v>
                </c:pt>
                <c:pt idx="23">
                  <c:v>2.329263318888606</c:v>
                </c:pt>
                <c:pt idx="24">
                  <c:v>2.2199513264157114</c:v>
                </c:pt>
                <c:pt idx="25">
                  <c:v>2.4614038780288876</c:v>
                </c:pt>
                <c:pt idx="26">
                  <c:v>2.388289236124641</c:v>
                </c:pt>
                <c:pt idx="27">
                  <c:v>2.537314039508983</c:v>
                </c:pt>
                <c:pt idx="28">
                  <c:v>2.4367677240017662</c:v>
                </c:pt>
                <c:pt idx="29">
                  <c:v>2.5635101406183938</c:v>
                </c:pt>
                <c:pt idx="30">
                  <c:v>2.4836528974105976</c:v>
                </c:pt>
                <c:pt idx="31">
                  <c:v>2.4021274403750064</c:v>
                </c:pt>
                <c:pt idx="32">
                  <c:v>2.299424442811658</c:v>
                </c:pt>
                <c:pt idx="33">
                  <c:v>2.180376633719024</c:v>
                </c:pt>
                <c:pt idx="34">
                  <c:v>2.237062632958405</c:v>
                </c:pt>
                <c:pt idx="35">
                  <c:v>2.385728689392876</c:v>
                </c:pt>
                <c:pt idx="36">
                  <c:v>2.4061756231992986</c:v>
                </c:pt>
                <c:pt idx="37">
                  <c:v>2.3497326727816747</c:v>
                </c:pt>
                <c:pt idx="38">
                  <c:v>2.389791873141725</c:v>
                </c:pt>
                <c:pt idx="39">
                  <c:v>2.338297846408853</c:v>
                </c:pt>
                <c:pt idx="40">
                  <c:v>2.3897801692535197</c:v>
                </c:pt>
                <c:pt idx="41">
                  <c:v>2.372532230838858</c:v>
                </c:pt>
                <c:pt idx="42">
                  <c:v>2.3632016047163003</c:v>
                </c:pt>
                <c:pt idx="43">
                  <c:v>2.336511619475764</c:v>
                </c:pt>
                <c:pt idx="44">
                  <c:v>2.386572517372786</c:v>
                </c:pt>
                <c:pt idx="45">
                  <c:v>2.401733271550051</c:v>
                </c:pt>
                <c:pt idx="46">
                  <c:v>2.4741055278315867</c:v>
                </c:pt>
                <c:pt idx="47">
                  <c:v>2.534464196623165</c:v>
                </c:pt>
                <c:pt idx="48">
                  <c:v>2.448158323158323</c:v>
                </c:pt>
                <c:pt idx="49">
                  <c:v>2.453410548507131</c:v>
                </c:pt>
                <c:pt idx="50">
                  <c:v>2.443559231725573</c:v>
                </c:pt>
                <c:pt idx="51">
                  <c:v>2.3740763622883976</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2.2109334028706495</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2.2109334028706495</c:v>
                </c:pt>
                <c:pt idx="1">
                  <c:v>2.2109334028706495</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2.2109334028706495</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2.2109334028706495</c:v>
                </c:pt>
                <c:pt idx="1">
                  <c:v>2.2109334028706495</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2.364009602221092</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2.364009602221092</c:v>
                </c:pt>
                <c:pt idx="1">
                  <c:v>2.364009602221092</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2.0809386628255915</c:v>
                </c:pt>
                <c:pt idx="1">
                  <c:v>2.3808944808627617</c:v>
                </c:pt>
                <c:pt idx="2">
                  <c:v>2.079185466915499</c:v>
                </c:pt>
                <c:pt idx="3">
                  <c:v>2.183347803225767</c:v>
                </c:pt>
                <c:pt idx="4">
                  <c:v>2.351648781505483</c:v>
                </c:pt>
                <c:pt idx="5">
                  <c:v>2.253918611550633</c:v>
                </c:pt>
                <c:pt idx="6">
                  <c:v>2.373766442132607</c:v>
                </c:pt>
                <c:pt idx="7">
                  <c:v>2.367118294097404</c:v>
                </c:pt>
                <c:pt idx="8">
                  <c:v>2.2676197642337597</c:v>
                </c:pt>
                <c:pt idx="9">
                  <c:v>2.199833293641343</c:v>
                </c:pt>
                <c:pt idx="10">
                  <c:v>2.2638646015488386</c:v>
                </c:pt>
                <c:pt idx="11">
                  <c:v>2.386238838140203</c:v>
                </c:pt>
                <c:pt idx="12">
                  <c:v>1.583371913580247</c:v>
                </c:pt>
                <c:pt idx="13">
                  <c:v>1.6461282060708553</c:v>
                </c:pt>
                <c:pt idx="14">
                  <c:v>2.2522881407710638</c:v>
                </c:pt>
                <c:pt idx="15">
                  <c:v>2.2012408186550667</c:v>
                </c:pt>
                <c:pt idx="16">
                  <c:v>2.3225156554768507</c:v>
                </c:pt>
                <c:pt idx="17">
                  <c:v>2.297935067308278</c:v>
                </c:pt>
                <c:pt idx="18">
                  <c:v>2.393063877969034</c:v>
                </c:pt>
                <c:pt idx="19">
                  <c:v>2.4134015941935067</c:v>
                </c:pt>
                <c:pt idx="20">
                  <c:v>2.4043932347821566</c:v>
                </c:pt>
                <c:pt idx="21">
                  <c:v>2.321980842672009</c:v>
                </c:pt>
                <c:pt idx="22">
                  <c:v>2.259245516388373</c:v>
                </c:pt>
                <c:pt idx="23">
                  <c:v>2.329263318888606</c:v>
                </c:pt>
                <c:pt idx="24">
                  <c:v>2.2199513264157114</c:v>
                </c:pt>
                <c:pt idx="25">
                  <c:v>2.4614038780288876</c:v>
                </c:pt>
                <c:pt idx="26">
                  <c:v>2.388289236124641</c:v>
                </c:pt>
                <c:pt idx="27">
                  <c:v>2.537314039508983</c:v>
                </c:pt>
                <c:pt idx="28">
                  <c:v>2.4367677240017662</c:v>
                </c:pt>
                <c:pt idx="29">
                  <c:v>2.5635101406183938</c:v>
                </c:pt>
                <c:pt idx="30">
                  <c:v>2.4836528974105976</c:v>
                </c:pt>
                <c:pt idx="31">
                  <c:v>2.4021274403750064</c:v>
                </c:pt>
                <c:pt idx="32">
                  <c:v>2.299424442811658</c:v>
                </c:pt>
                <c:pt idx="33">
                  <c:v>2.180376633719024</c:v>
                </c:pt>
                <c:pt idx="34">
                  <c:v>2.237062632958405</c:v>
                </c:pt>
                <c:pt idx="35">
                  <c:v>2.385728689392876</c:v>
                </c:pt>
                <c:pt idx="36">
                  <c:v>2.4061756231992986</c:v>
                </c:pt>
                <c:pt idx="37">
                  <c:v>2.3497326727816747</c:v>
                </c:pt>
                <c:pt idx="38">
                  <c:v>2.389791873141725</c:v>
                </c:pt>
                <c:pt idx="39">
                  <c:v>2.338297846408853</c:v>
                </c:pt>
                <c:pt idx="40">
                  <c:v>2.3897801692535197</c:v>
                </c:pt>
                <c:pt idx="41">
                  <c:v>2.372532230838858</c:v>
                </c:pt>
                <c:pt idx="42">
                  <c:v>2.3632016047163003</c:v>
                </c:pt>
                <c:pt idx="43">
                  <c:v>2.336511619475764</c:v>
                </c:pt>
                <c:pt idx="44">
                  <c:v>2.386572517372786</c:v>
                </c:pt>
                <c:pt idx="45">
                  <c:v>2.401733271550051</c:v>
                </c:pt>
                <c:pt idx="46">
                  <c:v>2.4741055278315867</c:v>
                </c:pt>
                <c:pt idx="47">
                  <c:v>2.534464196623165</c:v>
                </c:pt>
                <c:pt idx="48">
                  <c:v>2.448158323158323</c:v>
                </c:pt>
                <c:pt idx="49">
                  <c:v>2.453410548507131</c:v>
                </c:pt>
                <c:pt idx="50">
                  <c:v>2.443559231725573</c:v>
                </c:pt>
                <c:pt idx="51">
                  <c:v>2.3740763622883976</c:v>
                </c:pt>
                <c:pt idx="52">
                  <c:v>2.2109334028706495</c:v>
                </c:pt>
                <c:pt idx="53">
                  <c:v>2.2109334028706495</c:v>
                </c:pt>
                <c:pt idx="54">
                  <c:v>2.364009602221092</c:v>
                </c:pt>
              </c:numCache>
            </c:numRef>
          </c:xVal>
          <c:yVal>
            <c:numRef>
              <c:f>Sheet1!$B$147:$B$201</c:f>
              <c:numCache>
                <c:formatCode>General</c:formatCode>
                <c:ptCount val="55"/>
                <c:pt idx="0">
                  <c:v>0.012138016193935959</c:v>
                </c:pt>
                <c:pt idx="1">
                  <c:v>0.004531834849046422</c:v>
                </c:pt>
                <c:pt idx="2">
                  <c:v>0.012182473161340503</c:v>
                </c:pt>
                <c:pt idx="3">
                  <c:v>0.009541158768881897</c:v>
                </c:pt>
                <c:pt idx="4">
                  <c:v>0.005273437710178512</c:v>
                </c:pt>
                <c:pt idx="5">
                  <c:v>0.007751647335875279</c:v>
                </c:pt>
                <c:pt idx="6">
                  <c:v>0.004712585319464821</c:v>
                </c:pt>
                <c:pt idx="7">
                  <c:v>0.00488116687889021</c:v>
                </c:pt>
                <c:pt idx="8">
                  <c:v>0.007404217995701699</c:v>
                </c:pt>
                <c:pt idx="9">
                  <c:v>0.00912312510485485</c:v>
                </c:pt>
                <c:pt idx="10">
                  <c:v>0.007499440180582045</c:v>
                </c:pt>
                <c:pt idx="11">
                  <c:v>0.004396314388432916</c:v>
                </c:pt>
                <c:pt idx="12">
                  <c:v>0.02475515077966446</c:v>
                </c:pt>
                <c:pt idx="13">
                  <c:v>0.023163797278538692</c:v>
                </c:pt>
                <c:pt idx="14">
                  <c:v>0.007792992279634328</c:v>
                </c:pt>
                <c:pt idx="15">
                  <c:v>0.00908743354677171</c:v>
                </c:pt>
                <c:pt idx="16">
                  <c:v>0.0060121859737305786</c:v>
                </c:pt>
                <c:pt idx="17">
                  <c:v>0.006635492473993365</c:v>
                </c:pt>
                <c:pt idx="18">
                  <c:v>0.004223247264868238</c:v>
                </c:pt>
                <c:pt idx="19">
                  <c:v>0.00370753012106851</c:v>
                </c:pt>
                <c:pt idx="20">
                  <c:v>0.003935961147181095</c:v>
                </c:pt>
                <c:pt idx="21">
                  <c:v>0.0060257475815894065</c:v>
                </c:pt>
                <c:pt idx="22">
                  <c:v>0.00761656942850894</c:v>
                </c:pt>
                <c:pt idx="23">
                  <c:v>0.005841080935995564</c:v>
                </c:pt>
                <c:pt idx="24">
                  <c:v>0.008612978621997454</c:v>
                </c:pt>
                <c:pt idx="25">
                  <c:v>0.0024903039368592006</c:v>
                </c:pt>
                <c:pt idx="26">
                  <c:v>0.004344321068213669</c:v>
                </c:pt>
                <c:pt idx="27">
                  <c:v>0.0005653989361303763</c:v>
                </c:pt>
                <c:pt idx="28">
                  <c:v>0.003115019457955358</c:v>
                </c:pt>
                <c:pt idx="29">
                  <c:v>-9.887321191827392e-05</c:v>
                </c:pt>
                <c:pt idx="30">
                  <c:v>0.0019261205938900794</c:v>
                </c:pt>
                <c:pt idx="31">
                  <c:v>0.003993416419306825</c:v>
                </c:pt>
                <c:pt idx="32">
                  <c:v>0.006597725378014112</c:v>
                </c:pt>
                <c:pt idx="33">
                  <c:v>0.009616500711647269</c:v>
                </c:pt>
                <c:pt idx="34">
                  <c:v>0.008179075717685072</c:v>
                </c:pt>
                <c:pt idx="35">
                  <c:v>0.004409250573203155</c:v>
                </c:pt>
                <c:pt idx="36">
                  <c:v>0.003890763925748532</c:v>
                </c:pt>
                <c:pt idx="37">
                  <c:v>0.005322025767330325</c:v>
                </c:pt>
                <c:pt idx="38">
                  <c:v>0.004306217691115423</c:v>
                </c:pt>
                <c:pt idx="39">
                  <c:v>0.005611986347552278</c:v>
                </c:pt>
                <c:pt idx="40">
                  <c:v>0.004306514474477427</c:v>
                </c:pt>
                <c:pt idx="41">
                  <c:v>0.004743882045027924</c:v>
                </c:pt>
                <c:pt idx="42">
                  <c:v>0.0049804850048036295</c:v>
                </c:pt>
                <c:pt idx="43">
                  <c:v>0.005657280904814439</c:v>
                </c:pt>
                <c:pt idx="44">
                  <c:v>0.00438785305979239</c:v>
                </c:pt>
                <c:pt idx="45">
                  <c:v>0.004003411623209621</c:v>
                </c:pt>
                <c:pt idx="46">
                  <c:v>0.002168219663212484</c:v>
                </c:pt>
                <c:pt idx="47">
                  <c:v>0.0006376643181983666</c:v>
                </c:pt>
                <c:pt idx="48">
                  <c:v>0.002826180376991172</c:v>
                </c:pt>
                <c:pt idx="49">
                  <c:v>0.002692996167634347</c:v>
                </c:pt>
                <c:pt idx="50">
                  <c:v>0.0029428026305221566</c:v>
                </c:pt>
                <c:pt idx="51">
                  <c:v>0.00470472646570827</c:v>
                </c:pt>
                <c:pt idx="52">
                  <c:v>0.008841652172278745</c:v>
                </c:pt>
                <c:pt idx="53">
                  <c:v>0.008841652172278745</c:v>
                </c:pt>
                <c:pt idx="54">
                  <c:v>0.004959996068840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9792</c:v>
                </c:pt>
                <c:pt idx="1">
                  <c:v>18.4599</c:v>
                </c:pt>
                <c:pt idx="2">
                  <c:v>18.4294</c:v>
                </c:pt>
                <c:pt idx="3">
                  <c:v>18.2571</c:v>
                </c:pt>
                <c:pt idx="4">
                  <c:v>18.39</c:v>
                </c:pt>
                <c:pt idx="5">
                  <c:v>18.5531</c:v>
                </c:pt>
                <c:pt idx="6">
                  <c:v>18.5911</c:v>
                </c:pt>
                <c:pt idx="7">
                  <c:v>18.3118</c:v>
                </c:pt>
                <c:pt idx="8">
                  <c:v>17.8739</c:v>
                </c:pt>
                <c:pt idx="9">
                  <c:v>16.7077</c:v>
                </c:pt>
                <c:pt idx="10">
                  <c:v>18.217</c:v>
                </c:pt>
                <c:pt idx="11">
                  <c:v>17.7126</c:v>
                </c:pt>
                <c:pt idx="12">
                  <c:v>18.4457</c:v>
                </c:pt>
                <c:pt idx="13">
                  <c:v>18.0393</c:v>
                </c:pt>
                <c:pt idx="14">
                  <c:v>17.5347</c:v>
                </c:pt>
                <c:pt idx="15">
                  <c:v>18.1528</c:v>
                </c:pt>
                <c:pt idx="16">
                  <c:v>17.5946</c:v>
                </c:pt>
                <c:pt idx="17">
                  <c:v>18.0479</c:v>
                </c:pt>
                <c:pt idx="18">
                  <c:v>18.0041</c:v>
                </c:pt>
                <c:pt idx="19">
                  <c:v>18.1045</c:v>
                </c:pt>
                <c:pt idx="20">
                  <c:v>17.4893</c:v>
                </c:pt>
                <c:pt idx="21">
                  <c:v>17.5788</c:v>
                </c:pt>
                <c:pt idx="22">
                  <c:v>18.0079</c:v>
                </c:pt>
                <c:pt idx="23">
                  <c:v>18.1406</c:v>
                </c:pt>
                <c:pt idx="24">
                  <c:v>18.5066</c:v>
                </c:pt>
                <c:pt idx="25">
                  <c:v>18.5247</c:v>
                </c:pt>
                <c:pt idx="26">
                  <c:v>18.2847</c:v>
                </c:pt>
                <c:pt idx="27">
                  <c:v>12.1655</c:v>
                </c:pt>
                <c:pt idx="28">
                  <c:v>12.3737</c:v>
                </c:pt>
                <c:pt idx="29">
                  <c:v>18.0409</c:v>
                </c:pt>
                <c:pt idx="30">
                  <c:v>18.0512</c:v>
                </c:pt>
                <c:pt idx="31">
                  <c:v>17.4979</c:v>
                </c:pt>
                <c:pt idx="32">
                  <c:v>18.3662</c:v>
                </c:pt>
                <c:pt idx="33">
                  <c:v>17.8322</c:v>
                </c:pt>
                <c:pt idx="34">
                  <c:v>14.8796</c:v>
                </c:pt>
                <c:pt idx="35">
                  <c:v>15.4677</c:v>
                </c:pt>
                <c:pt idx="36">
                  <c:v>17.7939</c:v>
                </c:pt>
                <c:pt idx="37">
                  <c:v>17.6684</c:v>
                </c:pt>
                <c:pt idx="38">
                  <c:v>17.705</c:v>
                </c:pt>
                <c:pt idx="39">
                  <c:v>17.2831</c:v>
                </c:pt>
                <c:pt idx="40">
                  <c:v>17.2198</c:v>
                </c:pt>
                <c:pt idx="41">
                  <c:v>18.2571</c:v>
                </c:pt>
                <c:pt idx="42">
                  <c:v>17.4353</c:v>
                </c:pt>
                <c:pt idx="43">
                  <c:v>18.0455</c:v>
                </c:pt>
                <c:pt idx="44">
                  <c:v>18.1211</c:v>
                </c:pt>
                <c:pt idx="45">
                  <c:v>17.9104</c:v>
                </c:pt>
                <c:pt idx="46">
                  <c:v>18.3838</c:v>
                </c:pt>
                <c:pt idx="47">
                  <c:v>18.4782</c:v>
                </c:pt>
                <c:pt idx="48">
                  <c:v>18.4197</c:v>
                </c:pt>
                <c:pt idx="49">
                  <c:v>18.2912</c:v>
                </c:pt>
                <c:pt idx="50">
                  <c:v>18.7779</c:v>
                </c:pt>
                <c:pt idx="51">
                  <c:v>18.5071</c:v>
                </c:pt>
                <c:pt idx="52">
                  <c:v>15.0599</c:v>
                </c:pt>
                <c:pt idx="53">
                  <c:v>15.091</c:v>
                </c:pt>
                <c:pt idx="54">
                  <c:v>18.7135</c:v>
                </c:pt>
                <c:pt idx="55">
                  <c:v>18.5048</c:v>
                </c:pt>
                <c:pt idx="56">
                  <c:v>15.003</c:v>
                </c:pt>
                <c:pt idx="57">
                  <c:v>14.835</c:v>
                </c:pt>
                <c:pt idx="58">
                  <c:v>18.0278</c:v>
                </c:pt>
                <c:pt idx="59">
                  <c:v>18.1679</c:v>
                </c:pt>
                <c:pt idx="60">
                  <c:v>17.4619</c:v>
                </c:pt>
                <c:pt idx="61">
                  <c:v>18.1446</c:v>
                </c:pt>
                <c:pt idx="62">
                  <c:v>18.2544</c:v>
                </c:pt>
                <c:pt idx="63">
                  <c:v>18.31</c:v>
                </c:pt>
                <c:pt idx="64">
                  <c:v>17.0984</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7.790205760028268</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7.790205760028268</c:v>
                </c:pt>
                <c:pt idx="1">
                  <c:v>17.790205760028268</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7.790205760028268</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7.790205760028268</c:v>
                </c:pt>
                <c:pt idx="1">
                  <c:v>17.790205760028268</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8.7400741504077</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8.7400741504077</c:v>
                </c:pt>
                <c:pt idx="1">
                  <c:v>18.7400741504077</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pt idx="52">
                  <c:v>17.790205760028268</c:v>
                </c:pt>
                <c:pt idx="53">
                  <c:v>17.790205760028268</c:v>
                </c:pt>
                <c:pt idx="54">
                  <c:v>18.7400741504077</c:v>
                </c:pt>
              </c:numCache>
            </c:numRef>
          </c:xVal>
          <c:yVal>
            <c:numRef>
              <c:f>Sheet1!$B$147:$B$201</c:f>
              <c:numCache>
                <c:formatCode>General</c:formatCode>
                <c:ptCount val="55"/>
                <c:pt idx="0">
                  <c:v>0.010696547104718707</c:v>
                </c:pt>
                <c:pt idx="1">
                  <c:v>0.007923843335588002</c:v>
                </c:pt>
                <c:pt idx="2">
                  <c:v>0.00960748954469906</c:v>
                </c:pt>
                <c:pt idx="3">
                  <c:v>0.008576051915622288</c:v>
                </c:pt>
                <c:pt idx="4">
                  <c:v>0.007839252373139954</c:v>
                </c:pt>
                <c:pt idx="5">
                  <c:v>0.007030938731969652</c:v>
                </c:pt>
                <c:pt idx="6">
                  <c:v>0.005361186690603689</c:v>
                </c:pt>
                <c:pt idx="7">
                  <c:v>0.005648060389340584</c:v>
                </c:pt>
                <c:pt idx="8">
                  <c:v>0.007649229196626209</c:v>
                </c:pt>
                <c:pt idx="9">
                  <c:v>0.006046496082030686</c:v>
                </c:pt>
                <c:pt idx="10">
                  <c:v>0.007475552099812571</c:v>
                </c:pt>
                <c:pt idx="11">
                  <c:v>0.005535272439409836</c:v>
                </c:pt>
                <c:pt idx="12">
                  <c:v>0.031227223208053434</c:v>
                </c:pt>
                <c:pt idx="13">
                  <c:v>0.026647868980068386</c:v>
                </c:pt>
                <c:pt idx="14">
                  <c:v>0.006220581830836833</c:v>
                </c:pt>
                <c:pt idx="15">
                  <c:v>0.005856064253524432</c:v>
                </c:pt>
                <c:pt idx="16">
                  <c:v>0.007580167009893252</c:v>
                </c:pt>
                <c:pt idx="17">
                  <c:v>0.004459291743150268</c:v>
                </c:pt>
                <c:pt idx="18">
                  <c:v>0.004673425387221694</c:v>
                </c:pt>
                <c:pt idx="19">
                  <c:v>0.0054482295650067625</c:v>
                </c:pt>
                <c:pt idx="20">
                  <c:v>0.005902241928677249</c:v>
                </c:pt>
                <c:pt idx="21">
                  <c:v>0.00575921373130131</c:v>
                </c:pt>
                <c:pt idx="22">
                  <c:v>0.006897309530421281</c:v>
                </c:pt>
                <c:pt idx="23">
                  <c:v>0.0068588962431260225</c:v>
                </c:pt>
                <c:pt idx="24">
                  <c:v>0.006616156959579428</c:v>
                </c:pt>
                <c:pt idx="25">
                  <c:v>0.005078399511791842</c:v>
                </c:pt>
                <c:pt idx="26">
                  <c:v>0.006402023315508029</c:v>
                </c:pt>
                <c:pt idx="27">
                  <c:v>0.005013832496976414</c:v>
                </c:pt>
                <c:pt idx="28">
                  <c:v>0.004879794643435534</c:v>
                </c:pt>
                <c:pt idx="29">
                  <c:v>0.004733905882112074</c:v>
                </c:pt>
                <c:pt idx="30">
                  <c:v>0.005422484489479101</c:v>
                </c:pt>
                <c:pt idx="31">
                  <c:v>0.005315826319435904</c:v>
                </c:pt>
                <c:pt idx="32">
                  <c:v>0.00480868919674006</c:v>
                </c:pt>
                <c:pt idx="33">
                  <c:v>0.005459671820796846</c:v>
                </c:pt>
                <c:pt idx="34">
                  <c:v>0.0037604968359706975</c:v>
                </c:pt>
                <c:pt idx="35">
                  <c:v>0.005152774174427319</c:v>
                </c:pt>
                <c:pt idx="36">
                  <c:v>0.0030457645010835005</c:v>
                </c:pt>
                <c:pt idx="37">
                  <c:v>0.003237422285567254</c:v>
                </c:pt>
                <c:pt idx="38">
                  <c:v>0.0027110785192237946</c:v>
                </c:pt>
                <c:pt idx="39">
                  <c:v>0.003139754459359115</c:v>
                </c:pt>
                <c:pt idx="40">
                  <c:v>0.002954635106755407</c:v>
                </c:pt>
                <c:pt idx="41">
                  <c:v>0.0022779074071709593</c:v>
                </c:pt>
                <c:pt idx="42">
                  <c:v>0.002584805053540473</c:v>
                </c:pt>
                <c:pt idx="43">
                  <c:v>0.002531271642522634</c:v>
                </c:pt>
                <c:pt idx="44">
                  <c:v>0.003228840593724705</c:v>
                </c:pt>
                <c:pt idx="45">
                  <c:v>0.003172037966766822</c:v>
                </c:pt>
                <c:pt idx="46">
                  <c:v>0.0027294678588864196</c:v>
                </c:pt>
                <c:pt idx="47">
                  <c:v>0.0026555018482434384</c:v>
                </c:pt>
                <c:pt idx="48">
                  <c:v>0.002882712356074929</c:v>
                </c:pt>
                <c:pt idx="49">
                  <c:v>0.002596655961323052</c:v>
                </c:pt>
                <c:pt idx="50">
                  <c:v>0.002828770293064567</c:v>
                </c:pt>
                <c:pt idx="51">
                  <c:v>0.0030257405534508675</c:v>
                </c:pt>
                <c:pt idx="52">
                  <c:v>0.008841652172278752</c:v>
                </c:pt>
                <c:pt idx="53">
                  <c:v>0.008841652172278752</c:v>
                </c:pt>
                <c:pt idx="54">
                  <c:v>0.00495999606884005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0"/>
          <c:min val="1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4737944719429341</c:v>
                </c:pt>
                <c:pt idx="1">
                  <c:v>1.3662058348998656</c:v>
                </c:pt>
                <c:pt idx="2">
                  <c:v>1.3586193677754188</c:v>
                </c:pt>
                <c:pt idx="3">
                  <c:v>1.2772472558608097</c:v>
                </c:pt>
                <c:pt idx="4">
                  <c:v>1.3407405787274993</c:v>
                </c:pt>
                <c:pt idx="5">
                  <c:v>1.3135496021069923</c:v>
                </c:pt>
                <c:pt idx="6">
                  <c:v>1.3886805700797753</c:v>
                </c:pt>
                <c:pt idx="7">
                  <c:v>1.3488759244526947</c:v>
                </c:pt>
                <c:pt idx="8">
                  <c:v>1.3007051529286768</c:v>
                </c:pt>
                <c:pt idx="9">
                  <c:v>1.611949946453897</c:v>
                </c:pt>
                <c:pt idx="10">
                  <c:v>1.404873910696383</c:v>
                </c:pt>
                <c:pt idx="11">
                  <c:v>1.3434004050087598</c:v>
                </c:pt>
                <c:pt idx="12">
                  <c:v>1.4197737068965515</c:v>
                </c:pt>
                <c:pt idx="13">
                  <c:v>1.2733413802596194</c:v>
                </c:pt>
                <c:pt idx="14">
                  <c:v>1.347713804791441</c:v>
                </c:pt>
                <c:pt idx="15">
                  <c:v>1.3859638407036403</c:v>
                </c:pt>
                <c:pt idx="16">
                  <c:v>1.3130102535783048</c:v>
                </c:pt>
                <c:pt idx="17">
                  <c:v>1.300112377357403</c:v>
                </c:pt>
                <c:pt idx="18">
                  <c:v>1.362532825779305</c:v>
                </c:pt>
                <c:pt idx="19">
                  <c:v>1.7290795178881824</c:v>
                </c:pt>
                <c:pt idx="20">
                  <c:v>1.336938906555773</c:v>
                </c:pt>
                <c:pt idx="21">
                  <c:v>1.3617898145422433</c:v>
                </c:pt>
                <c:pt idx="22">
                  <c:v>1.3722814076478747</c:v>
                </c:pt>
                <c:pt idx="23">
                  <c:v>1.372987701040681</c:v>
                </c:pt>
                <c:pt idx="24">
                  <c:v>1.4105317713771788</c:v>
                </c:pt>
                <c:pt idx="25">
                  <c:v>1.3504920901071662</c:v>
                </c:pt>
                <c:pt idx="26">
                  <c:v>1.3617758116048888</c:v>
                </c:pt>
                <c:pt idx="27">
                  <c:v>0.9028535381646814</c:v>
                </c:pt>
                <c:pt idx="28">
                  <c:v>0.9328644019239757</c:v>
                </c:pt>
                <c:pt idx="29">
                  <c:v>1.7420217645298033</c:v>
                </c:pt>
                <c:pt idx="30">
                  <c:v>1.4123354014912646</c:v>
                </c:pt>
                <c:pt idx="31">
                  <c:v>1.34826361331782</c:v>
                </c:pt>
                <c:pt idx="32">
                  <c:v>1.4303114316197714</c:v>
                </c:pt>
                <c:pt idx="33">
                  <c:v>1.3406157200315754</c:v>
                </c:pt>
                <c:pt idx="34">
                  <c:v>1.1382367565500096</c:v>
                </c:pt>
                <c:pt idx="35">
                  <c:v>1.1568700777095502</c:v>
                </c:pt>
                <c:pt idx="36">
                  <c:v>1.402640706290399</c:v>
                </c:pt>
                <c:pt idx="37">
                  <c:v>1.3796646962822985</c:v>
                </c:pt>
                <c:pt idx="38">
                  <c:v>1.5659134126387475</c:v>
                </c:pt>
                <c:pt idx="39">
                  <c:v>1.4107962059001191</c:v>
                </c:pt>
                <c:pt idx="40">
                  <c:v>1.2376414104388576</c:v>
                </c:pt>
                <c:pt idx="41">
                  <c:v>1.3759835398390161</c:v>
                </c:pt>
                <c:pt idx="42">
                  <c:v>1.3121679184791608</c:v>
                </c:pt>
                <c:pt idx="43">
                  <c:v>1.372187454850999</c:v>
                </c:pt>
                <c:pt idx="44">
                  <c:v>1.3538262695086327</c:v>
                </c:pt>
                <c:pt idx="45">
                  <c:v>1.3799522305262346</c:v>
                </c:pt>
                <c:pt idx="46">
                  <c:v>1.2691962498101432</c:v>
                </c:pt>
                <c:pt idx="47">
                  <c:v>1.3680765842137605</c:v>
                </c:pt>
                <c:pt idx="48">
                  <c:v>1.5150894509561996</c:v>
                </c:pt>
                <c:pt idx="49">
                  <c:v>1.4361470756813204</c:v>
                </c:pt>
                <c:pt idx="50">
                  <c:v>1.368162973865019</c:v>
                </c:pt>
                <c:pt idx="51">
                  <c:v>1.3680183909405401</c:v>
                </c:pt>
                <c:pt idx="52">
                  <c:v>1.0915739499148336</c:v>
                </c:pt>
                <c:pt idx="53">
                  <c:v>1.0852540361727374</c:v>
                </c:pt>
                <c:pt idx="54">
                  <c:v>1.2654260462663052</c:v>
                </c:pt>
                <c:pt idx="55">
                  <c:v>1.3932448915056692</c:v>
                </c:pt>
                <c:pt idx="56">
                  <c:v>1.10367302500423</c:v>
                </c:pt>
                <c:pt idx="57">
                  <c:v>1.0846042492213661</c:v>
                </c:pt>
                <c:pt idx="58">
                  <c:v>1.4046359421870738</c:v>
                </c:pt>
                <c:pt idx="59">
                  <c:v>1.4540950673507118</c:v>
                </c:pt>
                <c:pt idx="60">
                  <c:v>1.4345840076897165</c:v>
                </c:pt>
                <c:pt idx="61">
                  <c:v>1.38040534372052</c:v>
                </c:pt>
                <c:pt idx="62">
                  <c:v>1.484061364356967</c:v>
                </c:pt>
                <c:pt idx="63">
                  <c:v>1.521358005201366</c:v>
                </c:pt>
                <c:pt idx="64">
                  <c:v>1.359616409163559</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4211013836972919</c:v>
                </c:pt>
                <c:pt idx="1">
                  <c:v>1.3517115116226721</c:v>
                </c:pt>
                <c:pt idx="2">
                  <c:v>1.4570165709272103</c:v>
                </c:pt>
                <c:pt idx="3">
                  <c:v>1.4036996564492417</c:v>
                </c:pt>
                <c:pt idx="4">
                  <c:v>1.4727545912576248</c:v>
                </c:pt>
                <c:pt idx="5">
                  <c:v>1.467445192029102</c:v>
                </c:pt>
                <c:pt idx="6">
                  <c:v>1.4603344953194157</c:v>
                </c:pt>
                <c:pt idx="7">
                  <c:v>1.4397782773858439</c:v>
                </c:pt>
                <c:pt idx="8">
                  <c:v>1.4340550400507575</c:v>
                </c:pt>
                <c:pt idx="9">
                  <c:v>1.445702614506953</c:v>
                </c:pt>
                <c:pt idx="10">
                  <c:v>1.4566840535913779</c:v>
                </c:pt>
                <c:pt idx="11">
                  <c:v>1.413417330972483</c:v>
                </c:pt>
                <c:pt idx="12">
                  <c:v>0.9705423301276999</c:v>
                </c:pt>
                <c:pt idx="13">
                  <c:v>1.0475956514279476</c:v>
                </c:pt>
                <c:pt idx="14">
                  <c:v>1.460333557818009</c:v>
                </c:pt>
                <c:pt idx="15">
                  <c:v>1.5201792617763663</c:v>
                </c:pt>
                <c:pt idx="16">
                  <c:v>1.3903194088094764</c:v>
                </c:pt>
                <c:pt idx="17">
                  <c:v>1.473352860769381</c:v>
                </c:pt>
                <c:pt idx="18">
                  <c:v>1.414577285785191</c:v>
                </c:pt>
                <c:pt idx="19">
                  <c:v>1.4677029061472857</c:v>
                </c:pt>
                <c:pt idx="20">
                  <c:v>1.4005478249684093</c:v>
                </c:pt>
                <c:pt idx="21">
                  <c:v>1.47101518252344</c:v>
                </c:pt>
                <c:pt idx="22">
                  <c:v>1.461829647947628</c:v>
                </c:pt>
                <c:pt idx="23">
                  <c:v>1.4103891894394838</c:v>
                </c:pt>
                <c:pt idx="24">
                  <c:v>1.3242616628025397</c:v>
                </c:pt>
                <c:pt idx="25">
                  <c:v>1.4467494510252683</c:v>
                </c:pt>
                <c:pt idx="26">
                  <c:v>1.3505402249039642</c:v>
                </c:pt>
                <c:pt idx="27">
                  <c:v>1.397456849269068</c:v>
                </c:pt>
                <c:pt idx="28">
                  <c:v>1.4870711522607647</c:v>
                </c:pt>
                <c:pt idx="29">
                  <c:v>1.415380212961429</c:v>
                </c:pt>
                <c:pt idx="30">
                  <c:v>1.4891870068195807</c:v>
                </c:pt>
                <c:pt idx="31">
                  <c:v>1.390334073731757</c:v>
                </c:pt>
                <c:pt idx="32">
                  <c:v>1.4990499760498164</c:v>
                </c:pt>
                <c:pt idx="33">
                  <c:v>1.3993400828278728</c:v>
                </c:pt>
                <c:pt idx="34">
                  <c:v>1.5440702853109864</c:v>
                </c:pt>
                <c:pt idx="35">
                  <c:v>1.447222136198941</c:v>
                </c:pt>
                <c:pt idx="36">
                  <c:v>1.488996379929149</c:v>
                </c:pt>
                <c:pt idx="37">
                  <c:v>1.5006343488135327</c:v>
                </c:pt>
                <c:pt idx="38">
                  <c:v>1.5316527055460718</c:v>
                </c:pt>
                <c:pt idx="39">
                  <c:v>1.5391125765123985</c:v>
                </c:pt>
                <c:pt idx="40">
                  <c:v>1.5416583160308157</c:v>
                </c:pt>
                <c:pt idx="41">
                  <c:v>1.412013074464755</c:v>
                </c:pt>
                <c:pt idx="42">
                  <c:v>1.5473875576627372</c:v>
                </c:pt>
                <c:pt idx="43">
                  <c:v>1.4489425800746414</c:v>
                </c:pt>
                <c:pt idx="44">
                  <c:v>1.5325197725655153</c:v>
                </c:pt>
                <c:pt idx="45">
                  <c:v>1.5224909099569712</c:v>
                </c:pt>
                <c:pt idx="46">
                  <c:v>1.4715208948504896</c:v>
                </c:pt>
                <c:pt idx="47">
                  <c:v>1.437978606120199</c:v>
                </c:pt>
                <c:pt idx="48">
                  <c:v>1.5396502903581886</c:v>
                </c:pt>
                <c:pt idx="49">
                  <c:v>1.541230533571611</c:v>
                </c:pt>
                <c:pt idx="50">
                  <c:v>1.5380610541949806</c:v>
                </c:pt>
                <c:pt idx="51">
                  <c:v>1.5612146229289738</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3795033217162145</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3795033217162145</c:v>
                </c:pt>
                <c:pt idx="1">
                  <c:v>1.3795033217162145</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795033217162145</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795033217162145</c:v>
                </c:pt>
                <c:pt idx="1">
                  <c:v>1.3795033217162145</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4687240219797895</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4687240219797895</c:v>
                </c:pt>
                <c:pt idx="1">
                  <c:v>1.4687240219797895</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4211013836972919</c:v>
                </c:pt>
                <c:pt idx="1">
                  <c:v>1.3517115116226721</c:v>
                </c:pt>
                <c:pt idx="2">
                  <c:v>1.4570165709272103</c:v>
                </c:pt>
                <c:pt idx="3">
                  <c:v>1.4036996564492417</c:v>
                </c:pt>
                <c:pt idx="4">
                  <c:v>1.4727545912576248</c:v>
                </c:pt>
                <c:pt idx="5">
                  <c:v>1.467445192029102</c:v>
                </c:pt>
                <c:pt idx="6">
                  <c:v>1.4603344953194157</c:v>
                </c:pt>
                <c:pt idx="7">
                  <c:v>1.4397782773858439</c:v>
                </c:pt>
                <c:pt idx="8">
                  <c:v>1.4340550400507575</c:v>
                </c:pt>
                <c:pt idx="9">
                  <c:v>1.445702614506953</c:v>
                </c:pt>
                <c:pt idx="10">
                  <c:v>1.4566840535913779</c:v>
                </c:pt>
                <c:pt idx="11">
                  <c:v>1.413417330972483</c:v>
                </c:pt>
                <c:pt idx="12">
                  <c:v>0.9705423301276999</c:v>
                </c:pt>
                <c:pt idx="13">
                  <c:v>1.0475956514279476</c:v>
                </c:pt>
                <c:pt idx="14">
                  <c:v>1.460333557818009</c:v>
                </c:pt>
                <c:pt idx="15">
                  <c:v>1.5201792617763663</c:v>
                </c:pt>
                <c:pt idx="16">
                  <c:v>1.3903194088094764</c:v>
                </c:pt>
                <c:pt idx="17">
                  <c:v>1.473352860769381</c:v>
                </c:pt>
                <c:pt idx="18">
                  <c:v>1.414577285785191</c:v>
                </c:pt>
                <c:pt idx="19">
                  <c:v>1.4677029061472857</c:v>
                </c:pt>
                <c:pt idx="20">
                  <c:v>1.4005478249684093</c:v>
                </c:pt>
                <c:pt idx="21">
                  <c:v>1.47101518252344</c:v>
                </c:pt>
                <c:pt idx="22">
                  <c:v>1.461829647947628</c:v>
                </c:pt>
                <c:pt idx="23">
                  <c:v>1.4103891894394838</c:v>
                </c:pt>
                <c:pt idx="24">
                  <c:v>1.3242616628025397</c:v>
                </c:pt>
                <c:pt idx="25">
                  <c:v>1.4467494510252683</c:v>
                </c:pt>
                <c:pt idx="26">
                  <c:v>1.3505402249039642</c:v>
                </c:pt>
                <c:pt idx="27">
                  <c:v>1.397456849269068</c:v>
                </c:pt>
                <c:pt idx="28">
                  <c:v>1.4870711522607647</c:v>
                </c:pt>
                <c:pt idx="29">
                  <c:v>1.415380212961429</c:v>
                </c:pt>
                <c:pt idx="30">
                  <c:v>1.4891870068195807</c:v>
                </c:pt>
                <c:pt idx="31">
                  <c:v>1.390334073731757</c:v>
                </c:pt>
                <c:pt idx="32">
                  <c:v>1.4990499760498164</c:v>
                </c:pt>
                <c:pt idx="33">
                  <c:v>1.3993400828278728</c:v>
                </c:pt>
                <c:pt idx="34">
                  <c:v>1.5440702853109864</c:v>
                </c:pt>
                <c:pt idx="35">
                  <c:v>1.447222136198941</c:v>
                </c:pt>
                <c:pt idx="36">
                  <c:v>1.488996379929149</c:v>
                </c:pt>
                <c:pt idx="37">
                  <c:v>1.5006343488135327</c:v>
                </c:pt>
                <c:pt idx="38">
                  <c:v>1.5316527055460718</c:v>
                </c:pt>
                <c:pt idx="39">
                  <c:v>1.5391125765123985</c:v>
                </c:pt>
                <c:pt idx="40">
                  <c:v>1.5416583160308157</c:v>
                </c:pt>
                <c:pt idx="41">
                  <c:v>1.412013074464755</c:v>
                </c:pt>
                <c:pt idx="42">
                  <c:v>1.5473875576627372</c:v>
                </c:pt>
                <c:pt idx="43">
                  <c:v>1.4489425800746414</c:v>
                </c:pt>
                <c:pt idx="44">
                  <c:v>1.5325197725655153</c:v>
                </c:pt>
                <c:pt idx="45">
                  <c:v>1.5224909099569712</c:v>
                </c:pt>
                <c:pt idx="46">
                  <c:v>1.4715208948504896</c:v>
                </c:pt>
                <c:pt idx="47">
                  <c:v>1.437978606120199</c:v>
                </c:pt>
                <c:pt idx="48">
                  <c:v>1.5396502903581886</c:v>
                </c:pt>
                <c:pt idx="49">
                  <c:v>1.541230533571611</c:v>
                </c:pt>
                <c:pt idx="50">
                  <c:v>1.5380610541949806</c:v>
                </c:pt>
                <c:pt idx="51">
                  <c:v>1.5612146229289738</c:v>
                </c:pt>
                <c:pt idx="52">
                  <c:v>1.3795033217162145</c:v>
                </c:pt>
                <c:pt idx="53">
                  <c:v>1.3795033217162145</c:v>
                </c:pt>
                <c:pt idx="54">
                  <c:v>1.4687240219797895</c:v>
                </c:pt>
              </c:numCache>
            </c:numRef>
          </c:xVal>
          <c:yVal>
            <c:numRef>
              <c:f>Sheet1!$B$147:$B$201</c:f>
              <c:numCache>
                <c:formatCode>General</c:formatCode>
                <c:ptCount val="55"/>
                <c:pt idx="0">
                  <c:v>0.007031877414817089</c:v>
                </c:pt>
                <c:pt idx="1">
                  <c:v>0.0100507689910945</c:v>
                </c:pt>
                <c:pt idx="2">
                  <c:v>0.005469343100411236</c:v>
                </c:pt>
                <c:pt idx="3">
                  <c:v>0.007788960923276689</c:v>
                </c:pt>
                <c:pt idx="4">
                  <c:v>0.004784641203977716</c:v>
                </c:pt>
                <c:pt idx="5">
                  <c:v>0.005015633135896036</c:v>
                </c:pt>
                <c:pt idx="6">
                  <c:v>0.005324992726230063</c:v>
                </c:pt>
                <c:pt idx="7">
                  <c:v>0.006219316224809923</c:v>
                </c:pt>
                <c:pt idx="8">
                  <c:v>0.006468312691633622</c:v>
                </c:pt>
                <c:pt idx="9">
                  <c:v>0.0059615706649001066</c:v>
                </c:pt>
                <c:pt idx="10">
                  <c:v>0.005483809675346424</c:v>
                </c:pt>
                <c:pt idx="11">
                  <c:v>0.0073661815625124735</c:v>
                </c:pt>
                <c:pt idx="12">
                  <c:v>0.026634002202913787</c:v>
                </c:pt>
                <c:pt idx="13">
                  <c:v>0.02328170285946829</c:v>
                </c:pt>
                <c:pt idx="14">
                  <c:v>0.005325033513379762</c:v>
                </c:pt>
                <c:pt idx="15">
                  <c:v>0.002721372688612833</c:v>
                </c:pt>
                <c:pt idx="16">
                  <c:v>0.008371085024107362</c:v>
                </c:pt>
                <c:pt idx="17">
                  <c:v>0.0047586127543584045</c:v>
                </c:pt>
                <c:pt idx="18">
                  <c:v>0.007315716304280247</c:v>
                </c:pt>
                <c:pt idx="19">
                  <c:v>0.005004420966782427</c:v>
                </c:pt>
                <c:pt idx="20">
                  <c:v>0.00792608522143217</c:v>
                </c:pt>
                <c:pt idx="21">
                  <c:v>0.004860316316473767</c:v>
                </c:pt>
                <c:pt idx="22">
                  <c:v>0.005259944275503636</c:v>
                </c:pt>
                <c:pt idx="23">
                  <c:v>0.007497924577630245</c:v>
                </c:pt>
                <c:pt idx="24">
                  <c:v>0.0112450083648762</c:v>
                </c:pt>
                <c:pt idx="25">
                  <c:v>0.005916026756943568</c:v>
                </c:pt>
                <c:pt idx="26">
                  <c:v>0.010101727257809716</c:v>
                </c:pt>
                <c:pt idx="27">
                  <c:v>0.008060561914099727</c:v>
                </c:pt>
                <c:pt idx="28">
                  <c:v>0.0041617816407382435</c:v>
                </c:pt>
                <c:pt idx="29">
                  <c:v>0.007280783971704355</c:v>
                </c:pt>
                <c:pt idx="30">
                  <c:v>0.004069728790469712</c:v>
                </c:pt>
                <c:pt idx="31">
                  <c:v>0.008370447008659049</c:v>
                </c:pt>
                <c:pt idx="32">
                  <c:v>0.0036406282050957667</c:v>
                </c:pt>
                <c:pt idx="33">
                  <c:v>0.007978629526031261</c:v>
                </c:pt>
                <c:pt idx="34">
                  <c:v>0.001681964378135628</c:v>
                </c:pt>
                <c:pt idx="35">
                  <c:v>0.005895462008135607</c:v>
                </c:pt>
                <c:pt idx="36">
                  <c:v>0.004078022247375315</c:v>
                </c:pt>
                <c:pt idx="37">
                  <c:v>0.0035716981228364614</c:v>
                </c:pt>
                <c:pt idx="38">
                  <c:v>0.002222206431179624</c:v>
                </c:pt>
                <c:pt idx="39">
                  <c:v>0.001897655586120539</c:v>
                </c:pt>
                <c:pt idx="40">
                  <c:v>0.0017869000629041065</c:v>
                </c:pt>
                <c:pt idx="41">
                  <c:v>0.007427275465921805</c:v>
                </c:pt>
                <c:pt idx="42">
                  <c:v>0.0015376423717749638</c:v>
                </c:pt>
                <c:pt idx="43">
                  <c:v>0.005820611985091539</c:v>
                </c:pt>
                <c:pt idx="44">
                  <c:v>0.002184483615979005</c:v>
                </c:pt>
                <c:pt idx="45">
                  <c:v>0.002620801596447675</c:v>
                </c:pt>
                <c:pt idx="46">
                  <c:v>0.004838314680809877</c:v>
                </c:pt>
                <c:pt idx="47">
                  <c:v>0.006297613132722965</c:v>
                </c:pt>
                <c:pt idx="48">
                  <c:v>0.0018742616850947885</c:v>
                </c:pt>
                <c:pt idx="49">
                  <c:v>0.0018055112639909637</c:v>
                </c:pt>
                <c:pt idx="50">
                  <c:v>0.0019434033555198876</c:v>
                </c:pt>
                <c:pt idx="51">
                  <c:v>0.0009360789215355492</c:v>
                </c:pt>
                <c:pt idx="52">
                  <c:v>0.008841652172278745</c:v>
                </c:pt>
                <c:pt idx="53">
                  <c:v>0.008841652172278745</c:v>
                </c:pt>
                <c:pt idx="54">
                  <c:v>0.00495999606884005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Tartar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9792</c:v>
                </c:pt>
                <c:pt idx="1">
                  <c:v>18.4599</c:v>
                </c:pt>
                <c:pt idx="2">
                  <c:v>18.4294</c:v>
                </c:pt>
                <c:pt idx="3">
                  <c:v>18.2571</c:v>
                </c:pt>
                <c:pt idx="4">
                  <c:v>18.39</c:v>
                </c:pt>
                <c:pt idx="5">
                  <c:v>18.5531</c:v>
                </c:pt>
                <c:pt idx="6">
                  <c:v>18.5911</c:v>
                </c:pt>
                <c:pt idx="7">
                  <c:v>18.3118</c:v>
                </c:pt>
                <c:pt idx="8">
                  <c:v>17.8739</c:v>
                </c:pt>
                <c:pt idx="9">
                  <c:v>16.7077</c:v>
                </c:pt>
                <c:pt idx="10">
                  <c:v>18.217</c:v>
                </c:pt>
                <c:pt idx="11">
                  <c:v>17.7126</c:v>
                </c:pt>
                <c:pt idx="12">
                  <c:v>18.4457</c:v>
                </c:pt>
                <c:pt idx="13">
                  <c:v>18.0393</c:v>
                </c:pt>
                <c:pt idx="14">
                  <c:v>17.5347</c:v>
                </c:pt>
                <c:pt idx="15">
                  <c:v>18.1528</c:v>
                </c:pt>
                <c:pt idx="16">
                  <c:v>17.5946</c:v>
                </c:pt>
                <c:pt idx="17">
                  <c:v>18.0479</c:v>
                </c:pt>
                <c:pt idx="18">
                  <c:v>18.0041</c:v>
                </c:pt>
                <c:pt idx="19">
                  <c:v>18.1045</c:v>
                </c:pt>
                <c:pt idx="20">
                  <c:v>17.4893</c:v>
                </c:pt>
                <c:pt idx="21">
                  <c:v>17.5788</c:v>
                </c:pt>
                <c:pt idx="22">
                  <c:v>18.0079</c:v>
                </c:pt>
                <c:pt idx="23">
                  <c:v>18.1406</c:v>
                </c:pt>
                <c:pt idx="24">
                  <c:v>18.5066</c:v>
                </c:pt>
                <c:pt idx="25">
                  <c:v>18.5247</c:v>
                </c:pt>
                <c:pt idx="26">
                  <c:v>18.2847</c:v>
                </c:pt>
                <c:pt idx="27">
                  <c:v>12.1655</c:v>
                </c:pt>
                <c:pt idx="28">
                  <c:v>12.3737</c:v>
                </c:pt>
                <c:pt idx="29">
                  <c:v>18.0409</c:v>
                </c:pt>
                <c:pt idx="30">
                  <c:v>18.0512</c:v>
                </c:pt>
                <c:pt idx="31">
                  <c:v>17.4979</c:v>
                </c:pt>
                <c:pt idx="32">
                  <c:v>18.3662</c:v>
                </c:pt>
                <c:pt idx="33">
                  <c:v>17.8322</c:v>
                </c:pt>
                <c:pt idx="34">
                  <c:v>14.8796</c:v>
                </c:pt>
                <c:pt idx="35">
                  <c:v>15.4677</c:v>
                </c:pt>
                <c:pt idx="36">
                  <c:v>17.7939</c:v>
                </c:pt>
                <c:pt idx="37">
                  <c:v>17.6684</c:v>
                </c:pt>
                <c:pt idx="38">
                  <c:v>17.705</c:v>
                </c:pt>
                <c:pt idx="39">
                  <c:v>17.2831</c:v>
                </c:pt>
                <c:pt idx="40">
                  <c:v>17.2198</c:v>
                </c:pt>
                <c:pt idx="41">
                  <c:v>18.2571</c:v>
                </c:pt>
                <c:pt idx="42">
                  <c:v>17.4353</c:v>
                </c:pt>
                <c:pt idx="43">
                  <c:v>18.0455</c:v>
                </c:pt>
                <c:pt idx="44">
                  <c:v>18.1211</c:v>
                </c:pt>
                <c:pt idx="45">
                  <c:v>17.9104</c:v>
                </c:pt>
                <c:pt idx="46">
                  <c:v>18.3838</c:v>
                </c:pt>
                <c:pt idx="47">
                  <c:v>18.4782</c:v>
                </c:pt>
                <c:pt idx="48">
                  <c:v>18.4197</c:v>
                </c:pt>
                <c:pt idx="49">
                  <c:v>18.2912</c:v>
                </c:pt>
                <c:pt idx="50">
                  <c:v>18.7779</c:v>
                </c:pt>
                <c:pt idx="51">
                  <c:v>18.5071</c:v>
                </c:pt>
                <c:pt idx="52">
                  <c:v>15.0599</c:v>
                </c:pt>
                <c:pt idx="53">
                  <c:v>15.091</c:v>
                </c:pt>
                <c:pt idx="54">
                  <c:v>18.7135</c:v>
                </c:pt>
                <c:pt idx="55">
                  <c:v>18.5048</c:v>
                </c:pt>
                <c:pt idx="56">
                  <c:v>15.003</c:v>
                </c:pt>
                <c:pt idx="57">
                  <c:v>14.835</c:v>
                </c:pt>
                <c:pt idx="58">
                  <c:v>18.0278</c:v>
                </c:pt>
                <c:pt idx="59">
                  <c:v>18.1679</c:v>
                </c:pt>
                <c:pt idx="60">
                  <c:v>17.4619</c:v>
                </c:pt>
                <c:pt idx="61">
                  <c:v>18.1446</c:v>
                </c:pt>
                <c:pt idx="62">
                  <c:v>18.2544</c:v>
                </c:pt>
                <c:pt idx="63">
                  <c:v>18.31</c:v>
                </c:pt>
                <c:pt idx="64">
                  <c:v>17.0984</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198360113014</c:v>
                </c:pt>
                <c:pt idx="32">
                  <c:v>0.0035865025039910777</c:v>
                </c:pt>
                <c:pt idx="33">
                  <c:v>0.007906974232121543</c:v>
                </c:pt>
                <c:pt idx="34">
                  <c:v>0.004923548913850264</c:v>
                </c:pt>
                <c:pt idx="35">
                  <c:v>0.002920267897626833</c:v>
                </c:pt>
                <c:pt idx="36">
                  <c:v>0.004272996562594053</c:v>
                </c:pt>
                <c:pt idx="37">
                  <c:v>0.0033224500644734906</c:v>
                </c:pt>
                <c:pt idx="38">
                  <c:v>0.003580307504163616</c:v>
                </c:pt>
                <c:pt idx="39">
                  <c:v>0.003489822666477174</c:v>
                </c:pt>
                <c:pt idx="40">
                  <c:v>0.0031620000781248394</c:v>
                </c:pt>
                <c:pt idx="41">
                  <c:v>0.004084742486098002</c:v>
                </c:pt>
                <c:pt idx="42">
                  <c:v>0.004494306353630009</c:v>
                </c:pt>
                <c:pt idx="43">
                  <c:v>0.0022389298339166087</c:v>
                </c:pt>
                <c:pt idx="44">
                  <c:v>0.011139610249711418</c:v>
                </c:pt>
                <c:pt idx="45">
                  <c:v>0.006754781240420242</c:v>
                </c:pt>
                <c:pt idx="46">
                  <c:v>0.004248265123958068</c:v>
                </c:pt>
                <c:pt idx="47">
                  <c:v>0.004720772575604898</c:v>
                </c:pt>
                <c:pt idx="48">
                  <c:v>0.004485068193372975</c:v>
                </c:pt>
                <c:pt idx="49">
                  <c:v>0.003975846200897588</c:v>
                </c:pt>
                <c:pt idx="50">
                  <c:v>0.004256798661880509</c:v>
                </c:pt>
                <c:pt idx="51">
                  <c:v>0.007429005230828389</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7.790205760028268</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7.790205760028268</c:v>
                </c:pt>
                <c:pt idx="1">
                  <c:v>17.790205760028268</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7.790205760028268</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7.790205760028268</c:v>
                </c:pt>
                <c:pt idx="1">
                  <c:v>17.790205760028268</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8.7400741504077</c:v>
                </c:pt>
              </c:numCache>
            </c:numRef>
          </c:xVal>
          <c:yVal>
            <c:numRef>
              <c:f>Sheet1!$B$139:$B$140</c:f>
              <c:numCache>
                <c:formatCode>General</c:formatCode>
                <c:ptCount val="2"/>
                <c:pt idx="0">
                  <c:v>0.004959996068840055</c:v>
                </c:pt>
                <c:pt idx="1">
                  <c:v>0.00495999606884005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8.7400741504077</c:v>
                </c:pt>
                <c:pt idx="1">
                  <c:v>18.7400741504077</c:v>
                </c:pt>
              </c:numCache>
            </c:numRef>
          </c:xVal>
          <c:yVal>
            <c:numRef>
              <c:f>Sheet1!$B$143:$B$144</c:f>
              <c:numCache>
                <c:formatCode>General</c:formatCode>
                <c:ptCount val="2"/>
                <c:pt idx="0">
                  <c:v>0.00495999606884005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pt idx="52">
                  <c:v>17.790205760028268</c:v>
                </c:pt>
                <c:pt idx="53">
                  <c:v>17.790205760028268</c:v>
                </c:pt>
                <c:pt idx="54">
                  <c:v>18.7400741504077</c:v>
                </c:pt>
              </c:numCache>
            </c:numRef>
          </c:xVal>
          <c:yVal>
            <c:numRef>
              <c:f>Sheet1!$B$147:$B$201</c:f>
              <c:numCache>
                <c:formatCode>General</c:formatCode>
                <c:ptCount val="55"/>
                <c:pt idx="0">
                  <c:v>0.010696547104718707</c:v>
                </c:pt>
                <c:pt idx="1">
                  <c:v>0.007923843335588002</c:v>
                </c:pt>
                <c:pt idx="2">
                  <c:v>0.00960748954469906</c:v>
                </c:pt>
                <c:pt idx="3">
                  <c:v>0.008576051915622288</c:v>
                </c:pt>
                <c:pt idx="4">
                  <c:v>0.007839252373139954</c:v>
                </c:pt>
                <c:pt idx="5">
                  <c:v>0.007030938731969652</c:v>
                </c:pt>
                <c:pt idx="6">
                  <c:v>0.005361186690603689</c:v>
                </c:pt>
                <c:pt idx="7">
                  <c:v>0.005648060389340584</c:v>
                </c:pt>
                <c:pt idx="8">
                  <c:v>0.007649229196626209</c:v>
                </c:pt>
                <c:pt idx="9">
                  <c:v>0.006046496082030686</c:v>
                </c:pt>
                <c:pt idx="10">
                  <c:v>0.007475552099812571</c:v>
                </c:pt>
                <c:pt idx="11">
                  <c:v>0.005535272439409836</c:v>
                </c:pt>
                <c:pt idx="12">
                  <c:v>0.031227223208053434</c:v>
                </c:pt>
                <c:pt idx="13">
                  <c:v>0.026647868980068386</c:v>
                </c:pt>
                <c:pt idx="14">
                  <c:v>0.006220581830836833</c:v>
                </c:pt>
                <c:pt idx="15">
                  <c:v>0.005856064253524432</c:v>
                </c:pt>
                <c:pt idx="16">
                  <c:v>0.007580167009893252</c:v>
                </c:pt>
                <c:pt idx="17">
                  <c:v>0.004459291743150268</c:v>
                </c:pt>
                <c:pt idx="18">
                  <c:v>0.004673425387221694</c:v>
                </c:pt>
                <c:pt idx="19">
                  <c:v>0.0054482295650067625</c:v>
                </c:pt>
                <c:pt idx="20">
                  <c:v>0.005902241928677249</c:v>
                </c:pt>
                <c:pt idx="21">
                  <c:v>0.00575921373130131</c:v>
                </c:pt>
                <c:pt idx="22">
                  <c:v>0.006897309530421281</c:v>
                </c:pt>
                <c:pt idx="23">
                  <c:v>0.0068588962431260225</c:v>
                </c:pt>
                <c:pt idx="24">
                  <c:v>0.006616156959579428</c:v>
                </c:pt>
                <c:pt idx="25">
                  <c:v>0.005078399511791842</c:v>
                </c:pt>
                <c:pt idx="26">
                  <c:v>0.006402023315508029</c:v>
                </c:pt>
                <c:pt idx="27">
                  <c:v>0.005013832496976414</c:v>
                </c:pt>
                <c:pt idx="28">
                  <c:v>0.004879794643435534</c:v>
                </c:pt>
                <c:pt idx="29">
                  <c:v>0.004733905882112074</c:v>
                </c:pt>
                <c:pt idx="30">
                  <c:v>0.005422484489479101</c:v>
                </c:pt>
                <c:pt idx="31">
                  <c:v>0.005315826319435904</c:v>
                </c:pt>
                <c:pt idx="32">
                  <c:v>0.00480868919674006</c:v>
                </c:pt>
                <c:pt idx="33">
                  <c:v>0.005459671820796846</c:v>
                </c:pt>
                <c:pt idx="34">
                  <c:v>0.0037604968359706975</c:v>
                </c:pt>
                <c:pt idx="35">
                  <c:v>0.005152774174427319</c:v>
                </c:pt>
                <c:pt idx="36">
                  <c:v>0.0030457645010835005</c:v>
                </c:pt>
                <c:pt idx="37">
                  <c:v>0.003237422285567254</c:v>
                </c:pt>
                <c:pt idx="38">
                  <c:v>0.0027110785192237946</c:v>
                </c:pt>
                <c:pt idx="39">
                  <c:v>0.003139754459359115</c:v>
                </c:pt>
                <c:pt idx="40">
                  <c:v>0.002954635106755407</c:v>
                </c:pt>
                <c:pt idx="41">
                  <c:v>0.0022779074071709593</c:v>
                </c:pt>
                <c:pt idx="42">
                  <c:v>0.002584805053540473</c:v>
                </c:pt>
                <c:pt idx="43">
                  <c:v>0.002531271642522634</c:v>
                </c:pt>
                <c:pt idx="44">
                  <c:v>0.003228840593724705</c:v>
                </c:pt>
                <c:pt idx="45">
                  <c:v>0.003172037966766822</c:v>
                </c:pt>
                <c:pt idx="46">
                  <c:v>0.0027294678588864196</c:v>
                </c:pt>
                <c:pt idx="47">
                  <c:v>0.0026555018482434384</c:v>
                </c:pt>
                <c:pt idx="48">
                  <c:v>0.002882712356074929</c:v>
                </c:pt>
                <c:pt idx="49">
                  <c:v>0.002596655961323052</c:v>
                </c:pt>
                <c:pt idx="50">
                  <c:v>0.002828770293064567</c:v>
                </c:pt>
                <c:pt idx="51">
                  <c:v>0.0030257405534508675</c:v>
                </c:pt>
                <c:pt idx="52">
                  <c:v>0.008841652172278752</c:v>
                </c:pt>
                <c:pt idx="53">
                  <c:v>0.008841652172278752</c:v>
                </c:pt>
                <c:pt idx="54">
                  <c:v>0.00495999606884005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0"/>
          <c:min val="1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600821458522503</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600821458522503</c:v>
                </c:pt>
                <c:pt idx="1">
                  <c:v>8.600821458522503</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9064369084968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90643690849686</c:v>
                </c:pt>
                <c:pt idx="1">
                  <c:v>8.69064369084968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242106515543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24210651554359</c:v>
                </c:pt>
                <c:pt idx="1">
                  <c:v>10.5242106515543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90643690849686</c:v>
                </c:pt>
                <c:pt idx="53">
                  <c:v>8.600821458522503</c:v>
                </c:pt>
                <c:pt idx="54">
                  <c:v>10.524210651554359</c:v>
                </c:pt>
              </c:numCache>
            </c:numRef>
          </c:xVal>
          <c:yVal>
            <c:numRef>
              <c:f>Sheet1!$B$186:$B$240</c:f>
              <c:numCache>
                <c:formatCode>General</c:formatCode>
                <c:ptCount val="55"/>
                <c:pt idx="0">
                  <c:v>0.03330876700272775</c:v>
                </c:pt>
                <c:pt idx="1">
                  <c:v>0.039767670836208274</c:v>
                </c:pt>
                <c:pt idx="2">
                  <c:v>0.031165671823128738</c:v>
                </c:pt>
                <c:pt idx="3">
                  <c:v>0.09041495474499436</c:v>
                </c:pt>
                <c:pt idx="4">
                  <c:v>0.08750389949610177</c:v>
                </c:pt>
                <c:pt idx="5">
                  <c:v>0.07117575675558332</c:v>
                </c:pt>
                <c:pt idx="6">
                  <c:v>0.0537411591493884</c:v>
                </c:pt>
                <c:pt idx="7">
                  <c:v>0.056933588197774304</c:v>
                </c:pt>
                <c:pt idx="8">
                  <c:v>0.04452352272538751</c:v>
                </c:pt>
                <c:pt idx="9">
                  <c:v>0.10303234828016566</c:v>
                </c:pt>
                <c:pt idx="10">
                  <c:v>0.08960468282615291</c:v>
                </c:pt>
                <c:pt idx="11">
                  <c:v>0.032092301328226824</c:v>
                </c:pt>
                <c:pt idx="12">
                  <c:v>0.05019119497232313</c:v>
                </c:pt>
                <c:pt idx="13">
                  <c:v>0.08172198525538693</c:v>
                </c:pt>
                <c:pt idx="14">
                  <c:v>0.07995758112924128</c:v>
                </c:pt>
                <c:pt idx="15">
                  <c:v>0.037434172333643934</c:v>
                </c:pt>
                <c:pt idx="16">
                  <c:v>0.020160359755730883</c:v>
                </c:pt>
                <c:pt idx="17">
                  <c:v>0.047902123911784</c:v>
                </c:pt>
                <c:pt idx="18">
                  <c:v>0.04502914932748445</c:v>
                </c:pt>
                <c:pt idx="19">
                  <c:v>0.04372382876893302</c:v>
                </c:pt>
                <c:pt idx="20">
                  <c:v>0.04487894226158953</c:v>
                </c:pt>
                <c:pt idx="21">
                  <c:v>0.03353725099028618</c:v>
                </c:pt>
                <c:pt idx="22">
                  <c:v>0.025398566729755684</c:v>
                </c:pt>
                <c:pt idx="23">
                  <c:v>0.04560247488885791</c:v>
                </c:pt>
                <c:pt idx="24">
                  <c:v>0.09311021956119298</c:v>
                </c:pt>
                <c:pt idx="25">
                  <c:v>0.08263380561314329</c:v>
                </c:pt>
                <c:pt idx="26">
                  <c:v>0.019927644583217635</c:v>
                </c:pt>
                <c:pt idx="27">
                  <c:v>0.04960306026360789</c:v>
                </c:pt>
                <c:pt idx="28">
                  <c:v>0.04287970737045324</c:v>
                </c:pt>
                <c:pt idx="29">
                  <c:v>0.09993935207821725</c:v>
                </c:pt>
                <c:pt idx="30">
                  <c:v>0.09901272257311913</c:v>
                </c:pt>
                <c:pt idx="31">
                  <c:v>0.09400299958665276</c:v>
                </c:pt>
                <c:pt idx="32">
                  <c:v>0.09298328401254938</c:v>
                </c:pt>
                <c:pt idx="33">
                  <c:v>0.04323724249913266</c:v>
                </c:pt>
                <c:pt idx="34">
                  <c:v>0.04330705705088661</c:v>
                </c:pt>
                <c:pt idx="35">
                  <c:v>0.04352284748358068</c:v>
                </c:pt>
                <c:pt idx="36">
                  <c:v>0.052952043155320844</c:v>
                </c:pt>
                <c:pt idx="37">
                  <c:v>0.05511206307473901</c:v>
                </c:pt>
                <c:pt idx="38">
                  <c:v>0.025696865269068087</c:v>
                </c:pt>
                <c:pt idx="39">
                  <c:v>0.031131822343490462</c:v>
                </c:pt>
                <c:pt idx="40">
                  <c:v>0.04979134799409585</c:v>
                </c:pt>
                <c:pt idx="41">
                  <c:v>0.040814889112517766</c:v>
                </c:pt>
                <c:pt idx="42">
                  <c:v>0.0492434095424511</c:v>
                </c:pt>
                <c:pt idx="43">
                  <c:v>0.06648548823320324</c:v>
                </c:pt>
                <c:pt idx="44">
                  <c:v>0.060549135741638754</c:v>
                </c:pt>
                <c:pt idx="45">
                  <c:v>0.040901628404090895</c:v>
                </c:pt>
                <c:pt idx="46">
                  <c:v>0.04162304543888187</c:v>
                </c:pt>
                <c:pt idx="47">
                  <c:v>0.03297027220634488</c:v>
                </c:pt>
                <c:pt idx="48">
                  <c:v>0.06229238394301051</c:v>
                </c:pt>
                <c:pt idx="49">
                  <c:v>0.03020096165343758</c:v>
                </c:pt>
                <c:pt idx="50">
                  <c:v>0.080634570722007</c:v>
                </c:pt>
                <c:pt idx="51">
                  <c:v>0.07095785073041186</c:v>
                </c:pt>
                <c:pt idx="52">
                  <c:v>0.0798931890345902</c:v>
                </c:pt>
                <c:pt idx="53">
                  <c:v>0.08179346142473046</c:v>
                </c:pt>
                <c:pt idx="54">
                  <c:v>0.041102384345960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8896732712242488</c:v>
                </c:pt>
                <c:pt idx="1">
                  <c:v>0.8526579385220417</c:v>
                </c:pt>
                <c:pt idx="2">
                  <c:v>0.9722416117650433</c:v>
                </c:pt>
                <c:pt idx="3">
                  <c:v>0.7452231665969997</c:v>
                </c:pt>
                <c:pt idx="4">
                  <c:v>0.766155226409922</c:v>
                </c:pt>
                <c:pt idx="5">
                  <c:v>0.7349738175316105</c:v>
                </c:pt>
                <c:pt idx="6">
                  <c:v>0.8173903831893604</c:v>
                </c:pt>
                <c:pt idx="7">
                  <c:v>0.7431389733807634</c:v>
                </c:pt>
                <c:pt idx="8">
                  <c:v>0.6966457949457641</c:v>
                </c:pt>
                <c:pt idx="9">
                  <c:v>0.8994413407821229</c:v>
                </c:pt>
                <c:pt idx="10">
                  <c:v>0.8440890252749728</c:v>
                </c:pt>
                <c:pt idx="11">
                  <c:v>0.8670726171818128</c:v>
                </c:pt>
                <c:pt idx="12">
                  <c:v>0.8425371914337094</c:v>
                </c:pt>
                <c:pt idx="13">
                  <c:v>0.7198655221029273</c:v>
                </c:pt>
                <c:pt idx="14">
                  <c:v>0.6531870589283834</c:v>
                </c:pt>
                <c:pt idx="15">
                  <c:v>0.8187233545523565</c:v>
                </c:pt>
                <c:pt idx="16">
                  <c:v>0.8047134422537078</c:v>
                </c:pt>
                <c:pt idx="17">
                  <c:v>0.8203490952122676</c:v>
                </c:pt>
                <c:pt idx="18">
                  <c:v>0.7980814999475601</c:v>
                </c:pt>
                <c:pt idx="19">
                  <c:v>0.8149250769078099</c:v>
                </c:pt>
                <c:pt idx="20">
                  <c:v>0.8807549114117608</c:v>
                </c:pt>
                <c:pt idx="21">
                  <c:v>0.933513682239101</c:v>
                </c:pt>
                <c:pt idx="22">
                  <c:v>0.8391899793294848</c:v>
                </c:pt>
                <c:pt idx="23">
                  <c:v>0.7292185693582791</c:v>
                </c:pt>
                <c:pt idx="24">
                  <c:v>0.6058829670197303</c:v>
                </c:pt>
                <c:pt idx="25">
                  <c:v>0.7037185862340316</c:v>
                </c:pt>
                <c:pt idx="26">
                  <c:v>0.8379127539558112</c:v>
                </c:pt>
                <c:pt idx="27">
                  <c:v>0.950842955694101</c:v>
                </c:pt>
                <c:pt idx="28">
                  <c:v>0.9741670937980524</c:v>
                </c:pt>
                <c:pt idx="29">
                  <c:v>1.0987104337631886</c:v>
                </c:pt>
                <c:pt idx="30">
                  <c:v>1.0417647787829967</c:v>
                </c:pt>
                <c:pt idx="31">
                  <c:v>0.7568907051560734</c:v>
                </c:pt>
                <c:pt idx="32">
                  <c:v>0.6250514327095574</c:v>
                </c:pt>
                <c:pt idx="33">
                  <c:v>0.6252426242236024</c:v>
                </c:pt>
                <c:pt idx="34">
                  <c:v>0.69728769524525</c:v>
                </c:pt>
                <c:pt idx="35">
                  <c:v>0.7561845968531206</c:v>
                </c:pt>
                <c:pt idx="36">
                  <c:v>0.7987100824321598</c:v>
                </c:pt>
                <c:pt idx="37">
                  <c:v>0.8062234688261063</c:v>
                </c:pt>
                <c:pt idx="38">
                  <c:v>0.8326760263125838</c:v>
                </c:pt>
                <c:pt idx="39">
                  <c:v>0.8710090275397097</c:v>
                </c:pt>
                <c:pt idx="40">
                  <c:v>0.7430359822833925</c:v>
                </c:pt>
                <c:pt idx="41">
                  <c:v>0.7659287849547811</c:v>
                </c:pt>
                <c:pt idx="42">
                  <c:v>0.7943183345588526</c:v>
                </c:pt>
                <c:pt idx="43">
                  <c:v>0.6971547944335006</c:v>
                </c:pt>
                <c:pt idx="44">
                  <c:v>0.6737360027146251</c:v>
                </c:pt>
                <c:pt idx="45">
                  <c:v>0.6535216502508826</c:v>
                </c:pt>
                <c:pt idx="46">
                  <c:v>0.8113491312181269</c:v>
                </c:pt>
                <c:pt idx="47">
                  <c:v>0.8116914557201436</c:v>
                </c:pt>
                <c:pt idx="48">
                  <c:v>0.8292556312914728</c:v>
                </c:pt>
                <c:pt idx="49">
                  <c:v>0.8197773473055289</c:v>
                </c:pt>
                <c:pt idx="50">
                  <c:v>0.7854962941432931</c:v>
                </c:pt>
                <c:pt idx="51">
                  <c:v>0.8792228550146646</c:v>
                </c:pt>
                <c:pt idx="52">
                  <c:v>0.9200530328140537</c:v>
                </c:pt>
                <c:pt idx="53">
                  <c:v>0.8602541553770341</c:v>
                </c:pt>
                <c:pt idx="54">
                  <c:v>0.9159418240105602</c:v>
                </c:pt>
                <c:pt idx="55">
                  <c:v>0.735888986068595</c:v>
                </c:pt>
                <c:pt idx="56">
                  <c:v>0.6227909111774156</c:v>
                </c:pt>
                <c:pt idx="57">
                  <c:v>0.6921868748981316</c:v>
                </c:pt>
                <c:pt idx="58">
                  <c:v>0.7345364965458149</c:v>
                </c:pt>
                <c:pt idx="59">
                  <c:v>0.9273636497577633</c:v>
                </c:pt>
                <c:pt idx="60">
                  <c:v>0.7246113145187576</c:v>
                </c:pt>
                <c:pt idx="61">
                  <c:v>0.6939722149571531</c:v>
                </c:pt>
                <c:pt idx="62">
                  <c:v>0.6855119104679738</c:v>
                </c:pt>
                <c:pt idx="63">
                  <c:v>0.8779855938131808</c:v>
                </c:pt>
                <c:pt idx="64">
                  <c:v>0.8464369914061906</c:v>
                </c:pt>
                <c:pt idx="65">
                  <c:v>0.7277676387217024</c:v>
                </c:pt>
                <c:pt idx="66">
                  <c:v>0.6275518452652156</c:v>
                </c:pt>
                <c:pt idx="67">
                  <c:v>0.8588265206921823</c:v>
                </c:pt>
                <c:pt idx="68">
                  <c:v>0.8422331917958259</c:v>
                </c:pt>
                <c:pt idx="69">
                  <c:v>0.9096654332887658</c:v>
                </c:pt>
                <c:pt idx="70">
                  <c:v>0.8664036338831701</c:v>
                </c:pt>
                <c:pt idx="71">
                  <c:v>0.8702579067749823</c:v>
                </c:pt>
                <c:pt idx="72">
                  <c:v>0.8794587849957108</c:v>
                </c:pt>
                <c:pt idx="73">
                  <c:v>0.856051278894395</c:v>
                </c:pt>
                <c:pt idx="74">
                  <c:v>0.5464024716297308</c:v>
                </c:pt>
                <c:pt idx="75">
                  <c:v>0.6374325484424822</c:v>
                </c:pt>
                <c:pt idx="76">
                  <c:v>0.8230451733003746</c:v>
                </c:pt>
                <c:pt idx="77">
                  <c:v>0.8647289368161121</c:v>
                </c:pt>
                <c:pt idx="78">
                  <c:v>0.8741370894637752</c:v>
                </c:pt>
                <c:pt idx="79">
                  <c:v>0.7745898753784412</c:v>
                </c:pt>
                <c:pt idx="80">
                  <c:v>0.729086264064793</c:v>
                </c:pt>
                <c:pt idx="81">
                  <c:v>0.9116882398495408</c:v>
                </c:pt>
                <c:pt idx="82">
                  <c:v>0.8172410242328549</c:v>
                </c:pt>
                <c:pt idx="83">
                  <c:v>0.6552653854594476</c:v>
                </c:pt>
                <c:pt idx="84">
                  <c:v>0.6195988416724304</c:v>
                </c:pt>
                <c:pt idx="85">
                  <c:v>0.7649923239301477</c:v>
                </c:pt>
                <c:pt idx="86">
                  <c:v>0.8387880067567567</c:v>
                </c:pt>
                <c:pt idx="87">
                  <c:v>0.7796620579000298</c:v>
                </c:pt>
                <c:pt idx="88">
                  <c:v>0.6940769052409553</c:v>
                </c:pt>
                <c:pt idx="89">
                  <c:v>0.7966658717620057</c:v>
                </c:pt>
                <c:pt idx="90">
                  <c:v>0.833306993580626</c:v>
                </c:pt>
                <c:pt idx="91">
                  <c:v>0.815254862850726</c:v>
                </c:pt>
                <c:pt idx="92">
                  <c:v>0.7666964795139478</c:v>
                </c:pt>
                <c:pt idx="93">
                  <c:v>0.8127600319255524</c:v>
                </c:pt>
                <c:pt idx="94">
                  <c:v>0.7622551663558891</c:v>
                </c:pt>
                <c:pt idx="95">
                  <c:v>0.6838021796435455</c:v>
                </c:pt>
                <c:pt idx="96">
                  <c:v>0.6157425272344088</c:v>
                </c:pt>
                <c:pt idx="97">
                  <c:v>0.7425461535023022</c:v>
                </c:pt>
                <c:pt idx="98">
                  <c:v>0.7143767319398494</c:v>
                </c:pt>
                <c:pt idx="99">
                  <c:v>0.7695852534562212</c:v>
                </c:pt>
                <c:pt idx="100">
                  <c:v>0.7239360009696822</c:v>
                </c:pt>
                <c:pt idx="101">
                  <c:v>0.7745793461080269</c:v>
                </c:pt>
                <c:pt idx="102">
                  <c:v>0.6763309172706823</c:v>
                </c:pt>
                <c:pt idx="103">
                  <c:v>0.6767696173737963</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9448410461031358</c:v>
                </c:pt>
                <c:pt idx="1">
                  <c:v>0.8898311495112666</c:v>
                </c:pt>
                <c:pt idx="2">
                  <c:v>0.9615768113913865</c:v>
                </c:pt>
                <c:pt idx="3">
                  <c:v>0.7163039962232151</c:v>
                </c:pt>
                <c:pt idx="4">
                  <c:v>0.633306980067809</c:v>
                </c:pt>
                <c:pt idx="5">
                  <c:v>0.706610672090171</c:v>
                </c:pt>
                <c:pt idx="6">
                  <c:v>0.8610809919936158</c:v>
                </c:pt>
                <c:pt idx="7">
                  <c:v>0.8466914948900053</c:v>
                </c:pt>
                <c:pt idx="8">
                  <c:v>0.8039926137421638</c:v>
                </c:pt>
                <c:pt idx="9">
                  <c:v>0.6000094776997622</c:v>
                </c:pt>
                <c:pt idx="10">
                  <c:v>0.6499486774575602</c:v>
                </c:pt>
                <c:pt idx="11">
                  <c:v>0.8385355244819507</c:v>
                </c:pt>
                <c:pt idx="12">
                  <c:v>0.7773627913782083</c:v>
                </c:pt>
                <c:pt idx="13">
                  <c:v>0.6744794932898532</c:v>
                </c:pt>
                <c:pt idx="14">
                  <c:v>0.6610159174605107</c:v>
                </c:pt>
                <c:pt idx="15">
                  <c:v>0.8224557734740792</c:v>
                </c:pt>
                <c:pt idx="16">
                  <c:v>0.8836811284987375</c:v>
                </c:pt>
                <c:pt idx="17">
                  <c:v>0.7979353224103547</c:v>
                </c:pt>
                <c:pt idx="18">
                  <c:v>0.7594205879328328</c:v>
                </c:pt>
                <c:pt idx="19">
                  <c:v>0.7951725245234836</c:v>
                </c:pt>
                <c:pt idx="20">
                  <c:v>0.7866674777398432</c:v>
                </c:pt>
                <c:pt idx="21">
                  <c:v>0.8285466284948529</c:v>
                </c:pt>
                <c:pt idx="22">
                  <c:v>0.9033217610224257</c:v>
                </c:pt>
                <c:pt idx="23">
                  <c:v>0.7636507713157914</c:v>
                </c:pt>
                <c:pt idx="24">
                  <c:v>0.6071433948061723</c:v>
                </c:pt>
                <c:pt idx="25">
                  <c:v>0.6490451316497728</c:v>
                </c:pt>
                <c:pt idx="26">
                  <c:v>0.9395436425444496</c:v>
                </c:pt>
                <c:pt idx="27">
                  <c:v>0.8046422893481717</c:v>
                </c:pt>
                <c:pt idx="28">
                  <c:v>0.8512536181662522</c:v>
                </c:pt>
                <c:pt idx="29">
                  <c:v>0.6338853732614017</c:v>
                </c:pt>
                <c:pt idx="30">
                  <c:v>0.6791414467372534</c:v>
                </c:pt>
                <c:pt idx="31">
                  <c:v>0.638072668569929</c:v>
                </c:pt>
                <c:pt idx="32">
                  <c:v>0.6179208451351144</c:v>
                </c:pt>
                <c:pt idx="33">
                  <c:v>0.824628164556962</c:v>
                </c:pt>
                <c:pt idx="34">
                  <c:v>0.8090878737760798</c:v>
                </c:pt>
                <c:pt idx="35">
                  <c:v>0.8249829611196526</c:v>
                </c:pt>
                <c:pt idx="36">
                  <c:v>0.7571619629477652</c:v>
                </c:pt>
                <c:pt idx="37">
                  <c:v>0.7386325336848492</c:v>
                </c:pt>
                <c:pt idx="38">
                  <c:v>0.8654760256587751</c:v>
                </c:pt>
                <c:pt idx="39">
                  <c:v>0.8413936119741051</c:v>
                </c:pt>
                <c:pt idx="40">
                  <c:v>0.780067721309073</c:v>
                </c:pt>
                <c:pt idx="41">
                  <c:v>0.8869007541071909</c:v>
                </c:pt>
                <c:pt idx="42">
                  <c:v>0.8292631062402879</c:v>
                </c:pt>
                <c:pt idx="43">
                  <c:v>0.7484668486113342</c:v>
                </c:pt>
                <c:pt idx="44">
                  <c:v>0.743674316330639</c:v>
                </c:pt>
                <c:pt idx="45">
                  <c:v>0.8196156240273886</c:v>
                </c:pt>
                <c:pt idx="46">
                  <c:v>0.8114942884083286</c:v>
                </c:pt>
                <c:pt idx="47">
                  <c:v>0.8346097641217111</c:v>
                </c:pt>
                <c:pt idx="48">
                  <c:v>0.7661844455529988</c:v>
                </c:pt>
                <c:pt idx="49">
                  <c:v>0.844521454417491</c:v>
                </c:pt>
                <c:pt idx="50">
                  <c:v>0.6708155404515194</c:v>
                </c:pt>
                <c:pt idx="51">
                  <c:v>0.70121575869498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6625523600835097</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6625523600835097</c:v>
                </c:pt>
                <c:pt idx="1">
                  <c:v>0.6625523600835097</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6708430700595298</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6708430700595298</c:v>
                </c:pt>
                <c:pt idx="1">
                  <c:v>0.6708430700595298</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84008370791678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8400837079167859</c:v>
                </c:pt>
                <c:pt idx="1">
                  <c:v>0.84008370791678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9448410461031358</c:v>
                </c:pt>
                <c:pt idx="1">
                  <c:v>0.8898311495112666</c:v>
                </c:pt>
                <c:pt idx="2">
                  <c:v>0.9615768113913865</c:v>
                </c:pt>
                <c:pt idx="3">
                  <c:v>0.7163039962232151</c:v>
                </c:pt>
                <c:pt idx="4">
                  <c:v>0.633306980067809</c:v>
                </c:pt>
                <c:pt idx="5">
                  <c:v>0.706610672090171</c:v>
                </c:pt>
                <c:pt idx="6">
                  <c:v>0.8610809919936158</c:v>
                </c:pt>
                <c:pt idx="7">
                  <c:v>0.8466914948900053</c:v>
                </c:pt>
                <c:pt idx="8">
                  <c:v>0.8039926137421638</c:v>
                </c:pt>
                <c:pt idx="9">
                  <c:v>0.6000094776997622</c:v>
                </c:pt>
                <c:pt idx="10">
                  <c:v>0.6499486774575602</c:v>
                </c:pt>
                <c:pt idx="11">
                  <c:v>0.8385355244819507</c:v>
                </c:pt>
                <c:pt idx="12">
                  <c:v>0.7773627913782083</c:v>
                </c:pt>
                <c:pt idx="13">
                  <c:v>0.6744794932898532</c:v>
                </c:pt>
                <c:pt idx="14">
                  <c:v>0.6610159174605107</c:v>
                </c:pt>
                <c:pt idx="15">
                  <c:v>0.8224557734740792</c:v>
                </c:pt>
                <c:pt idx="16">
                  <c:v>0.8836811284987375</c:v>
                </c:pt>
                <c:pt idx="17">
                  <c:v>0.7979353224103547</c:v>
                </c:pt>
                <c:pt idx="18">
                  <c:v>0.7594205879328328</c:v>
                </c:pt>
                <c:pt idx="19">
                  <c:v>0.7951725245234836</c:v>
                </c:pt>
                <c:pt idx="20">
                  <c:v>0.7866674777398432</c:v>
                </c:pt>
                <c:pt idx="21">
                  <c:v>0.8285466284948529</c:v>
                </c:pt>
                <c:pt idx="22">
                  <c:v>0.9033217610224257</c:v>
                </c:pt>
                <c:pt idx="23">
                  <c:v>0.7636507713157914</c:v>
                </c:pt>
                <c:pt idx="24">
                  <c:v>0.6071433948061723</c:v>
                </c:pt>
                <c:pt idx="25">
                  <c:v>0.6490451316497728</c:v>
                </c:pt>
                <c:pt idx="26">
                  <c:v>0.9395436425444496</c:v>
                </c:pt>
                <c:pt idx="27">
                  <c:v>0.8046422893481717</c:v>
                </c:pt>
                <c:pt idx="28">
                  <c:v>0.8512536181662522</c:v>
                </c:pt>
                <c:pt idx="29">
                  <c:v>0.6338853732614017</c:v>
                </c:pt>
                <c:pt idx="30">
                  <c:v>0.6791414467372534</c:v>
                </c:pt>
                <c:pt idx="31">
                  <c:v>0.638072668569929</c:v>
                </c:pt>
                <c:pt idx="32">
                  <c:v>0.6179208451351144</c:v>
                </c:pt>
                <c:pt idx="33">
                  <c:v>0.824628164556962</c:v>
                </c:pt>
                <c:pt idx="34">
                  <c:v>0.8090878737760798</c:v>
                </c:pt>
                <c:pt idx="35">
                  <c:v>0.8249829611196526</c:v>
                </c:pt>
                <c:pt idx="36">
                  <c:v>0.7571619629477652</c:v>
                </c:pt>
                <c:pt idx="37">
                  <c:v>0.7386325336848492</c:v>
                </c:pt>
                <c:pt idx="38">
                  <c:v>0.8654760256587751</c:v>
                </c:pt>
                <c:pt idx="39">
                  <c:v>0.8413936119741051</c:v>
                </c:pt>
                <c:pt idx="40">
                  <c:v>0.780067721309073</c:v>
                </c:pt>
                <c:pt idx="41">
                  <c:v>0.8869007541071909</c:v>
                </c:pt>
                <c:pt idx="42">
                  <c:v>0.8292631062402879</c:v>
                </c:pt>
                <c:pt idx="43">
                  <c:v>0.7484668486113342</c:v>
                </c:pt>
                <c:pt idx="44">
                  <c:v>0.743674316330639</c:v>
                </c:pt>
                <c:pt idx="45">
                  <c:v>0.8196156240273886</c:v>
                </c:pt>
                <c:pt idx="46">
                  <c:v>0.8114942884083286</c:v>
                </c:pt>
                <c:pt idx="47">
                  <c:v>0.8346097641217111</c:v>
                </c:pt>
                <c:pt idx="48">
                  <c:v>0.7661844455529988</c:v>
                </c:pt>
                <c:pt idx="49">
                  <c:v>0.844521454417491</c:v>
                </c:pt>
                <c:pt idx="50">
                  <c:v>0.6708155404515194</c:v>
                </c:pt>
                <c:pt idx="51">
                  <c:v>0.701215758694983</c:v>
                </c:pt>
                <c:pt idx="52">
                  <c:v>0.6708430700595298</c:v>
                </c:pt>
                <c:pt idx="53">
                  <c:v>0.6625523600835097</c:v>
                </c:pt>
                <c:pt idx="54">
                  <c:v>0.8400837079167859</c:v>
                </c:pt>
              </c:numCache>
            </c:numRef>
          </c:xVal>
          <c:yVal>
            <c:numRef>
              <c:f>Sheet1!$B$186:$B$240</c:f>
              <c:numCache>
                <c:formatCode>General</c:formatCode>
                <c:ptCount val="55"/>
                <c:pt idx="0">
                  <c:v>0.017091475992407484</c:v>
                </c:pt>
                <c:pt idx="1">
                  <c:v>0.02970002073469749</c:v>
                </c:pt>
                <c:pt idx="2">
                  <c:v>0.013255554485429727</c:v>
                </c:pt>
                <c:pt idx="3">
                  <c:v>0.069473316301263</c:v>
                </c:pt>
                <c:pt idx="4">
                  <c:v>0.08849664949230704</c:v>
                </c:pt>
                <c:pt idx="5">
                  <c:v>0.07169507490480617</c:v>
                </c:pt>
                <c:pt idx="6">
                  <c:v>0.03628970131705958</c:v>
                </c:pt>
                <c:pt idx="7">
                  <c:v>0.03958784636532245</c:v>
                </c:pt>
                <c:pt idx="8">
                  <c:v>0.049374644500803005</c:v>
                </c:pt>
                <c:pt idx="9">
                  <c:v>0.0961286043663338</c:v>
                </c:pt>
                <c:pt idx="10">
                  <c:v>0.08468228882038853</c:v>
                </c:pt>
                <c:pt idx="11">
                  <c:v>0.04145723576937288</c:v>
                </c:pt>
                <c:pt idx="12">
                  <c:v>0.05547833361053306</c:v>
                </c:pt>
                <c:pt idx="13">
                  <c:v>0.079059702555937</c:v>
                </c:pt>
                <c:pt idx="14">
                  <c:v>0.08214562179506843</c:v>
                </c:pt>
                <c:pt idx="15">
                  <c:v>0.04514279550659292</c:v>
                </c:pt>
                <c:pt idx="16">
                  <c:v>0.031109636456715772</c:v>
                </c:pt>
                <c:pt idx="17">
                  <c:v>0.05076300611400206</c:v>
                </c:pt>
                <c:pt idx="18">
                  <c:v>0.05959077680588573</c:v>
                </c:pt>
                <c:pt idx="19">
                  <c:v>0.051396253273671616</c:v>
                </c:pt>
                <c:pt idx="20">
                  <c:v>0.053345652737233795</c:v>
                </c:pt>
                <c:pt idx="21">
                  <c:v>0.0437467409272142</c:v>
                </c:pt>
                <c:pt idx="22">
                  <c:v>0.02660790478143024</c:v>
                </c:pt>
                <c:pt idx="23">
                  <c:v>0.05862119751640188</c:v>
                </c:pt>
                <c:pt idx="24">
                  <c:v>0.09449347471518565</c:v>
                </c:pt>
                <c:pt idx="25">
                  <c:v>0.08488938606015828</c:v>
                </c:pt>
                <c:pt idx="26">
                  <c:v>0.018305667509312368</c:v>
                </c:pt>
                <c:pt idx="27">
                  <c:v>0.04922573558706517</c:v>
                </c:pt>
                <c:pt idx="28">
                  <c:v>0.038542184784186084</c:v>
                </c:pt>
                <c:pt idx="29">
                  <c:v>0.08836407886571312</c:v>
                </c:pt>
                <c:pt idx="30">
                  <c:v>0.07799115939789175</c:v>
                </c:pt>
                <c:pt idx="31">
                  <c:v>0.08740432973841608</c:v>
                </c:pt>
                <c:pt idx="32">
                  <c:v>0.09202322893943993</c:v>
                </c:pt>
                <c:pt idx="33">
                  <c:v>0.04464487255339239</c:v>
                </c:pt>
                <c:pt idx="34">
                  <c:v>0.048206785295615395</c:v>
                </c:pt>
                <c:pt idx="35">
                  <c:v>0.04456355139825033</c:v>
                </c:pt>
                <c:pt idx="36">
                  <c:v>0.060108465002821715</c:v>
                </c:pt>
                <c:pt idx="37">
                  <c:v>0.06435550330656406</c:v>
                </c:pt>
                <c:pt idx="38">
                  <c:v>0.035282337514466605</c:v>
                </c:pt>
                <c:pt idx="39">
                  <c:v>0.040802147753309675</c:v>
                </c:pt>
                <c:pt idx="40">
                  <c:v>0.054858350077186285</c:v>
                </c:pt>
                <c:pt idx="41">
                  <c:v>0.03037168208754487</c:v>
                </c:pt>
                <c:pt idx="42">
                  <c:v>0.043582520627416244</c:v>
                </c:pt>
                <c:pt idx="43">
                  <c:v>0.062101428904637546</c:v>
                </c:pt>
                <c:pt idx="44">
                  <c:v>0.06319990138747705</c:v>
                </c:pt>
                <c:pt idx="45">
                  <c:v>0.04579377203249099</c:v>
                </c:pt>
                <c:pt idx="46">
                  <c:v>0.04765522296885227</c:v>
                </c:pt>
                <c:pt idx="47">
                  <c:v>0.042357039772220356</c:v>
                </c:pt>
                <c:pt idx="48">
                  <c:v>0.058040466648659444</c:v>
                </c:pt>
                <c:pt idx="49">
                  <c:v>0.0400852305468139</c:v>
                </c:pt>
                <c:pt idx="50">
                  <c:v>0.07989949895909187</c:v>
                </c:pt>
                <c:pt idx="51">
                  <c:v>0.07293161616625732</c:v>
                </c:pt>
                <c:pt idx="52">
                  <c:v>0.07989318903459022</c:v>
                </c:pt>
                <c:pt idx="53">
                  <c:v>0.08179346142473048</c:v>
                </c:pt>
                <c:pt idx="54">
                  <c:v>0.04110238434596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oign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600821458522503</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600821458522503</c:v>
                </c:pt>
                <c:pt idx="1">
                  <c:v>8.600821458522503</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9064369084968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90643690849686</c:v>
                </c:pt>
                <c:pt idx="1">
                  <c:v>8.69064369084968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242106515543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24210651554359</c:v>
                </c:pt>
                <c:pt idx="1">
                  <c:v>10.5242106515543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90643690849686</c:v>
                </c:pt>
                <c:pt idx="53">
                  <c:v>8.600821458522503</c:v>
                </c:pt>
                <c:pt idx="54">
                  <c:v>10.524210651554359</c:v>
                </c:pt>
              </c:numCache>
            </c:numRef>
          </c:xVal>
          <c:yVal>
            <c:numRef>
              <c:f>Sheet1!$B$186:$B$240</c:f>
              <c:numCache>
                <c:formatCode>General</c:formatCode>
                <c:ptCount val="55"/>
                <c:pt idx="0">
                  <c:v>0.03330876700272775</c:v>
                </c:pt>
                <c:pt idx="1">
                  <c:v>0.039767670836208274</c:v>
                </c:pt>
                <c:pt idx="2">
                  <c:v>0.031165671823128738</c:v>
                </c:pt>
                <c:pt idx="3">
                  <c:v>0.09041495474499436</c:v>
                </c:pt>
                <c:pt idx="4">
                  <c:v>0.08750389949610177</c:v>
                </c:pt>
                <c:pt idx="5">
                  <c:v>0.07117575675558332</c:v>
                </c:pt>
                <c:pt idx="6">
                  <c:v>0.0537411591493884</c:v>
                </c:pt>
                <c:pt idx="7">
                  <c:v>0.056933588197774304</c:v>
                </c:pt>
                <c:pt idx="8">
                  <c:v>0.04452352272538751</c:v>
                </c:pt>
                <c:pt idx="9">
                  <c:v>0.10303234828016566</c:v>
                </c:pt>
                <c:pt idx="10">
                  <c:v>0.08960468282615291</c:v>
                </c:pt>
                <c:pt idx="11">
                  <c:v>0.032092301328226824</c:v>
                </c:pt>
                <c:pt idx="12">
                  <c:v>0.05019119497232313</c:v>
                </c:pt>
                <c:pt idx="13">
                  <c:v>0.08172198525538693</c:v>
                </c:pt>
                <c:pt idx="14">
                  <c:v>0.07995758112924128</c:v>
                </c:pt>
                <c:pt idx="15">
                  <c:v>0.037434172333643934</c:v>
                </c:pt>
                <c:pt idx="16">
                  <c:v>0.020160359755730883</c:v>
                </c:pt>
                <c:pt idx="17">
                  <c:v>0.047902123911784</c:v>
                </c:pt>
                <c:pt idx="18">
                  <c:v>0.04502914932748445</c:v>
                </c:pt>
                <c:pt idx="19">
                  <c:v>0.04372382876893302</c:v>
                </c:pt>
                <c:pt idx="20">
                  <c:v>0.04487894226158953</c:v>
                </c:pt>
                <c:pt idx="21">
                  <c:v>0.03353725099028618</c:v>
                </c:pt>
                <c:pt idx="22">
                  <c:v>0.025398566729755684</c:v>
                </c:pt>
                <c:pt idx="23">
                  <c:v>0.04560247488885791</c:v>
                </c:pt>
                <c:pt idx="24">
                  <c:v>0.09311021956119298</c:v>
                </c:pt>
                <c:pt idx="25">
                  <c:v>0.08263380561314329</c:v>
                </c:pt>
                <c:pt idx="26">
                  <c:v>0.019927644583217635</c:v>
                </c:pt>
                <c:pt idx="27">
                  <c:v>0.04960306026360789</c:v>
                </c:pt>
                <c:pt idx="28">
                  <c:v>0.04287970737045324</c:v>
                </c:pt>
                <c:pt idx="29">
                  <c:v>0.09993935207821725</c:v>
                </c:pt>
                <c:pt idx="30">
                  <c:v>0.09901272257311913</c:v>
                </c:pt>
                <c:pt idx="31">
                  <c:v>0.09400299958665276</c:v>
                </c:pt>
                <c:pt idx="32">
                  <c:v>0.09298328401254938</c:v>
                </c:pt>
                <c:pt idx="33">
                  <c:v>0.04323724249913266</c:v>
                </c:pt>
                <c:pt idx="34">
                  <c:v>0.04330705705088661</c:v>
                </c:pt>
                <c:pt idx="35">
                  <c:v>0.04352284748358068</c:v>
                </c:pt>
                <c:pt idx="36">
                  <c:v>0.052952043155320844</c:v>
                </c:pt>
                <c:pt idx="37">
                  <c:v>0.05511206307473901</c:v>
                </c:pt>
                <c:pt idx="38">
                  <c:v>0.025696865269068087</c:v>
                </c:pt>
                <c:pt idx="39">
                  <c:v>0.031131822343490462</c:v>
                </c:pt>
                <c:pt idx="40">
                  <c:v>0.04979134799409585</c:v>
                </c:pt>
                <c:pt idx="41">
                  <c:v>0.040814889112517766</c:v>
                </c:pt>
                <c:pt idx="42">
                  <c:v>0.0492434095424511</c:v>
                </c:pt>
                <c:pt idx="43">
                  <c:v>0.06648548823320324</c:v>
                </c:pt>
                <c:pt idx="44">
                  <c:v>0.060549135741638754</c:v>
                </c:pt>
                <c:pt idx="45">
                  <c:v>0.040901628404090895</c:v>
                </c:pt>
                <c:pt idx="46">
                  <c:v>0.04162304543888187</c:v>
                </c:pt>
                <c:pt idx="47">
                  <c:v>0.03297027220634488</c:v>
                </c:pt>
                <c:pt idx="48">
                  <c:v>0.06229238394301051</c:v>
                </c:pt>
                <c:pt idx="49">
                  <c:v>0.03020096165343758</c:v>
                </c:pt>
                <c:pt idx="50">
                  <c:v>0.080634570722007</c:v>
                </c:pt>
                <c:pt idx="51">
                  <c:v>0.07095785073041186</c:v>
                </c:pt>
                <c:pt idx="52">
                  <c:v>0.0798931890345902</c:v>
                </c:pt>
                <c:pt idx="53">
                  <c:v>0.08179346142473046</c:v>
                </c:pt>
                <c:pt idx="54">
                  <c:v>0.041102384345960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6831755106902506</c:v>
                </c:pt>
                <c:pt idx="1">
                  <c:v>1.6795310944985764</c:v>
                </c:pt>
                <c:pt idx="2">
                  <c:v>1.6164303922007066</c:v>
                </c:pt>
                <c:pt idx="3">
                  <c:v>1.6294322749545334</c:v>
                </c:pt>
                <c:pt idx="4">
                  <c:v>1.6065441835866539</c:v>
                </c:pt>
                <c:pt idx="5">
                  <c:v>1.635007702721628</c:v>
                </c:pt>
                <c:pt idx="6">
                  <c:v>1.6405841660261338</c:v>
                </c:pt>
                <c:pt idx="7">
                  <c:v>1.2846326382872673</c:v>
                </c:pt>
                <c:pt idx="8">
                  <c:v>1.6577969483708312</c:v>
                </c:pt>
                <c:pt idx="9">
                  <c:v>1.6646067803631843</c:v>
                </c:pt>
                <c:pt idx="10">
                  <c:v>1.7128527610994657</c:v>
                </c:pt>
                <c:pt idx="11">
                  <c:v>1.4902101048793717</c:v>
                </c:pt>
                <c:pt idx="12">
                  <c:v>1.428576321497888</c:v>
                </c:pt>
                <c:pt idx="13">
                  <c:v>1.72568596466025</c:v>
                </c:pt>
                <c:pt idx="14">
                  <c:v>1.8233486010035354</c:v>
                </c:pt>
                <c:pt idx="15">
                  <c:v>1.8450325812098813</c:v>
                </c:pt>
                <c:pt idx="16">
                  <c:v>1.7693901428362504</c:v>
                </c:pt>
                <c:pt idx="17">
                  <c:v>1.6814092003548347</c:v>
                </c:pt>
                <c:pt idx="18">
                  <c:v>1.7146604724263856</c:v>
                </c:pt>
                <c:pt idx="19">
                  <c:v>1.6227146937550707</c:v>
                </c:pt>
                <c:pt idx="20">
                  <c:v>1.490913509870856</c:v>
                </c:pt>
                <c:pt idx="21">
                  <c:v>1.6960381624270546</c:v>
                </c:pt>
                <c:pt idx="22">
                  <c:v>1.6681624997032076</c:v>
                </c:pt>
                <c:pt idx="23">
                  <c:v>1.604589536035986</c:v>
                </c:pt>
                <c:pt idx="24">
                  <c:v>1.701486842575922</c:v>
                </c:pt>
                <c:pt idx="25">
                  <c:v>1.582347787998248</c:v>
                </c:pt>
                <c:pt idx="26">
                  <c:v>1.71501827966071</c:v>
                </c:pt>
                <c:pt idx="27">
                  <c:v>1.4476432103550747</c:v>
                </c:pt>
                <c:pt idx="28">
                  <c:v>1.5544251918856324</c:v>
                </c:pt>
                <c:pt idx="29">
                  <c:v>1.833068304139348</c:v>
                </c:pt>
                <c:pt idx="30">
                  <c:v>1.805360553963706</c:v>
                </c:pt>
                <c:pt idx="31">
                  <c:v>1.5447710564656945</c:v>
                </c:pt>
                <c:pt idx="32">
                  <c:v>1.6059408031346416</c:v>
                </c:pt>
                <c:pt idx="33">
                  <c:v>1.7783865460920916</c:v>
                </c:pt>
                <c:pt idx="34">
                  <c:v>1.588417462976129</c:v>
                </c:pt>
                <c:pt idx="35">
                  <c:v>1.7080246992823858</c:v>
                </c:pt>
                <c:pt idx="36">
                  <c:v>1.6919861011527217</c:v>
                </c:pt>
                <c:pt idx="37">
                  <c:v>1.738690763142258</c:v>
                </c:pt>
                <c:pt idx="38">
                  <c:v>1.7403492991529872</c:v>
                </c:pt>
                <c:pt idx="39">
                  <c:v>1.726542711455718</c:v>
                </c:pt>
                <c:pt idx="40">
                  <c:v>1.6816714471692722</c:v>
                </c:pt>
                <c:pt idx="41">
                  <c:v>1.6873374849776028</c:v>
                </c:pt>
                <c:pt idx="42">
                  <c:v>1.5413286341268786</c:v>
                </c:pt>
                <c:pt idx="43">
                  <c:v>1.706369112697494</c:v>
                </c:pt>
                <c:pt idx="44">
                  <c:v>1.6727753340786327</c:v>
                </c:pt>
                <c:pt idx="45">
                  <c:v>1.735361912968548</c:v>
                </c:pt>
                <c:pt idx="46">
                  <c:v>1.7397353819889032</c:v>
                </c:pt>
                <c:pt idx="47">
                  <c:v>1.626809294707749</c:v>
                </c:pt>
                <c:pt idx="48">
                  <c:v>1.8845581738673347</c:v>
                </c:pt>
                <c:pt idx="49">
                  <c:v>1.778445543577202</c:v>
                </c:pt>
                <c:pt idx="50">
                  <c:v>1.7660536041357335</c:v>
                </c:pt>
                <c:pt idx="51">
                  <c:v>1.8849440568055824</c:v>
                </c:pt>
                <c:pt idx="52">
                  <c:v>1.741373630460888</c:v>
                </c:pt>
                <c:pt idx="53">
                  <c:v>1.7806241872561768</c:v>
                </c:pt>
                <c:pt idx="54">
                  <c:v>1.7662962600884198</c:v>
                </c:pt>
                <c:pt idx="55">
                  <c:v>1.7209145221558402</c:v>
                </c:pt>
                <c:pt idx="56">
                  <c:v>1.746683272865111</c:v>
                </c:pt>
                <c:pt idx="57">
                  <c:v>1.775609808537857</c:v>
                </c:pt>
                <c:pt idx="58">
                  <c:v>1.815392098339634</c:v>
                </c:pt>
                <c:pt idx="59">
                  <c:v>1.7027067444294899</c:v>
                </c:pt>
                <c:pt idx="60">
                  <c:v>1.814373364414048</c:v>
                </c:pt>
                <c:pt idx="61">
                  <c:v>1.805081874647092</c:v>
                </c:pt>
                <c:pt idx="62">
                  <c:v>1.811213909714468</c:v>
                </c:pt>
                <c:pt idx="63">
                  <c:v>1.4696836555360284</c:v>
                </c:pt>
                <c:pt idx="64">
                  <c:v>1.6185541820766556</c:v>
                </c:pt>
                <c:pt idx="65">
                  <c:v>1.7819530766231684</c:v>
                </c:pt>
                <c:pt idx="66">
                  <c:v>1.6458521215995616</c:v>
                </c:pt>
                <c:pt idx="67">
                  <c:v>1.4899994620474475</c:v>
                </c:pt>
                <c:pt idx="68">
                  <c:v>1.7816924215786065</c:v>
                </c:pt>
                <c:pt idx="69">
                  <c:v>1.799846026432129</c:v>
                </c:pt>
                <c:pt idx="70">
                  <c:v>1.7298503456143883</c:v>
                </c:pt>
                <c:pt idx="71">
                  <c:v>1.568230054434486</c:v>
                </c:pt>
                <c:pt idx="72">
                  <c:v>1.5489381297488132</c:v>
                </c:pt>
                <c:pt idx="73">
                  <c:v>1.694502856900104</c:v>
                </c:pt>
                <c:pt idx="74">
                  <c:v>1.787125133419793</c:v>
                </c:pt>
                <c:pt idx="75">
                  <c:v>1.8359078951942798</c:v>
                </c:pt>
                <c:pt idx="76">
                  <c:v>1.8326398308007081</c:v>
                </c:pt>
                <c:pt idx="77">
                  <c:v>1.8348674562887761</c:v>
                </c:pt>
                <c:pt idx="78">
                  <c:v>1.7574364132777698</c:v>
                </c:pt>
                <c:pt idx="79">
                  <c:v>1.4608530849502501</c:v>
                </c:pt>
                <c:pt idx="80">
                  <c:v>1.5351088493073226</c:v>
                </c:pt>
                <c:pt idx="81">
                  <c:v>1.8011393942145102</c:v>
                </c:pt>
                <c:pt idx="82">
                  <c:v>1.7690143029658436</c:v>
                </c:pt>
                <c:pt idx="83">
                  <c:v>1.7360203990337302</c:v>
                </c:pt>
                <c:pt idx="84">
                  <c:v>1.6974189220397884</c:v>
                </c:pt>
                <c:pt idx="85">
                  <c:v>1.6253500897666069</c:v>
                </c:pt>
                <c:pt idx="86">
                  <c:v>1.5505866749382307</c:v>
                </c:pt>
                <c:pt idx="87">
                  <c:v>1.759600093415331</c:v>
                </c:pt>
                <c:pt idx="88">
                  <c:v>1.7817671506450046</c:v>
                </c:pt>
                <c:pt idx="89">
                  <c:v>1.7348019862203203</c:v>
                </c:pt>
                <c:pt idx="90">
                  <c:v>1.7288630683846677</c:v>
                </c:pt>
                <c:pt idx="91">
                  <c:v>1.7317256232867773</c:v>
                </c:pt>
                <c:pt idx="92">
                  <c:v>1.602816657089888</c:v>
                </c:pt>
                <c:pt idx="93">
                  <c:v>1.5416107742662446</c:v>
                </c:pt>
                <c:pt idx="94">
                  <c:v>1.7199918132560619</c:v>
                </c:pt>
                <c:pt idx="95">
                  <c:v>1.7825723920141305</c:v>
                </c:pt>
                <c:pt idx="96">
                  <c:v>1.7456555402615277</c:v>
                </c:pt>
                <c:pt idx="97">
                  <c:v>1.7123653351129755</c:v>
                </c:pt>
                <c:pt idx="98">
                  <c:v>1.4113007237494268</c:v>
                </c:pt>
                <c:pt idx="99">
                  <c:v>1.7142674125635224</c:v>
                </c:pt>
                <c:pt idx="100">
                  <c:v>1.6314538667101854</c:v>
                </c:pt>
                <c:pt idx="101">
                  <c:v>1.4165213005191148</c:v>
                </c:pt>
                <c:pt idx="102">
                  <c:v>1.5027061138920976</c:v>
                </c:pt>
                <c:pt idx="103">
                  <c:v>1.7118736209267373</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7973796139953404</c:v>
                </c:pt>
                <c:pt idx="1">
                  <c:v>1.695182912974324</c:v>
                </c:pt>
                <c:pt idx="2">
                  <c:v>1.7133601087367527</c:v>
                </c:pt>
                <c:pt idx="3">
                  <c:v>1.5790984725184745</c:v>
                </c:pt>
                <c:pt idx="4">
                  <c:v>1.6917423679134473</c:v>
                </c:pt>
                <c:pt idx="5">
                  <c:v>1.7342874115677485</c:v>
                </c:pt>
                <c:pt idx="6">
                  <c:v>1.7665948348053284</c:v>
                </c:pt>
                <c:pt idx="7">
                  <c:v>1.6624772007798907</c:v>
                </c:pt>
                <c:pt idx="8">
                  <c:v>1.7181183711600816</c:v>
                </c:pt>
                <c:pt idx="9">
                  <c:v>1.7772169437846397</c:v>
                </c:pt>
                <c:pt idx="10">
                  <c:v>1.6688101858313027</c:v>
                </c:pt>
                <c:pt idx="11">
                  <c:v>1.3963686557655555</c:v>
                </c:pt>
                <c:pt idx="12">
                  <c:v>1.5353584498550972</c:v>
                </c:pt>
                <c:pt idx="13">
                  <c:v>1.714067481402763</c:v>
                </c:pt>
                <c:pt idx="14">
                  <c:v>1.52553694707236</c:v>
                </c:pt>
                <c:pt idx="15">
                  <c:v>1.510003484063051</c:v>
                </c:pt>
                <c:pt idx="16">
                  <c:v>1.687421078193298</c:v>
                </c:pt>
                <c:pt idx="17">
                  <c:v>1.6878997407087295</c:v>
                </c:pt>
                <c:pt idx="18">
                  <c:v>1.7051641572112688</c:v>
                </c:pt>
                <c:pt idx="19">
                  <c:v>1.4869987171621397</c:v>
                </c:pt>
                <c:pt idx="20">
                  <c:v>1.4615846666302625</c:v>
                </c:pt>
                <c:pt idx="21">
                  <c:v>1.6441566904554197</c:v>
                </c:pt>
                <c:pt idx="22">
                  <c:v>1.6758348216701846</c:v>
                </c:pt>
                <c:pt idx="23">
                  <c:v>1.7100647439670393</c:v>
                </c:pt>
                <c:pt idx="24">
                  <c:v>1.7424107192048748</c:v>
                </c:pt>
                <c:pt idx="25">
                  <c:v>1.777766359515409</c:v>
                </c:pt>
                <c:pt idx="26">
                  <c:v>1.6924780502062886</c:v>
                </c:pt>
                <c:pt idx="27">
                  <c:v>1.5832288849308442</c:v>
                </c:pt>
                <c:pt idx="28">
                  <c:v>1.5108385254413292</c:v>
                </c:pt>
                <c:pt idx="29">
                  <c:v>1.7115434647361574</c:v>
                </c:pt>
                <c:pt idx="30">
                  <c:v>1.719396488205221</c:v>
                </c:pt>
                <c:pt idx="31">
                  <c:v>1.6144116682013991</c:v>
                </c:pt>
                <c:pt idx="32">
                  <c:v>1.6214257421502818</c:v>
                </c:pt>
                <c:pt idx="33">
                  <c:v>1.609745091133222</c:v>
                </c:pt>
                <c:pt idx="34">
                  <c:v>1.624275534968251</c:v>
                </c:pt>
                <c:pt idx="35">
                  <c:v>1.7776950125425846</c:v>
                </c:pt>
                <c:pt idx="36">
                  <c:v>1.618470450621066</c:v>
                </c:pt>
                <c:pt idx="37">
                  <c:v>1.6439399028234924</c:v>
                </c:pt>
                <c:pt idx="38">
                  <c:v>1.764054687750929</c:v>
                </c:pt>
                <c:pt idx="39">
                  <c:v>1.7484242404785602</c:v>
                </c:pt>
                <c:pt idx="40">
                  <c:v>1.8452917742853392</c:v>
                </c:pt>
                <c:pt idx="41">
                  <c:v>1.6524385237489223</c:v>
                </c:pt>
                <c:pt idx="42">
                  <c:v>1.6465281409663273</c:v>
                </c:pt>
                <c:pt idx="43">
                  <c:v>1.592822831308279</c:v>
                </c:pt>
                <c:pt idx="44">
                  <c:v>1.5725492069558573</c:v>
                </c:pt>
                <c:pt idx="45">
                  <c:v>1.5031218731238742</c:v>
                </c:pt>
                <c:pt idx="46">
                  <c:v>1.6803038787865983</c:v>
                </c:pt>
                <c:pt idx="47">
                  <c:v>1.675164346481052</c:v>
                </c:pt>
                <c:pt idx="48">
                  <c:v>1.7357771260997068</c:v>
                </c:pt>
                <c:pt idx="49">
                  <c:v>1.599329311890112</c:v>
                </c:pt>
                <c:pt idx="50">
                  <c:v>1.6866376144542918</c:v>
                </c:pt>
                <c:pt idx="51">
                  <c:v>1.6423942166725647</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31480047262</c:v>
                </c:pt>
                <c:pt idx="23">
                  <c:v>0.013951671410234946</c:v>
                </c:pt>
                <c:pt idx="24">
                  <c:v>0.016285300586309212</c:v>
                </c:pt>
                <c:pt idx="25">
                  <c:v>0.023162485219782515</c:v>
                </c:pt>
                <c:pt idx="26">
                  <c:v>0.01726092969110129</c:v>
                </c:pt>
                <c:pt idx="27">
                  <c:v>0.02212224293844631</c:v>
                </c:pt>
                <c:pt idx="28">
                  <c:v>0.0270796422100541</c:v>
                </c:pt>
                <c:pt idx="29">
                  <c:v>0.021287875016180586</c:v>
                </c:pt>
                <c:pt idx="30">
                  <c:v>0.01794075219393254</c:v>
                </c:pt>
                <c:pt idx="31">
                  <c:v>0.01815128588771085</c:v>
                </c:pt>
                <c:pt idx="32">
                  <c:v>0.02722889936763876</c:v>
                </c:pt>
                <c:pt idx="33">
                  <c:v>0.03242273139245778</c:v>
                </c:pt>
                <c:pt idx="34">
                  <c:v>0.02654277780711809</c:v>
                </c:pt>
                <c:pt idx="35">
                  <c:v>0.015661578110474195</c:v>
                </c:pt>
                <c:pt idx="36">
                  <c:v>0.025226537986722072</c:v>
                </c:pt>
                <c:pt idx="37">
                  <c:v>0.024393040748925787</c:v>
                </c:pt>
                <c:pt idx="38">
                  <c:v>0.014911469596569443</c:v>
                </c:pt>
                <c:pt idx="39">
                  <c:v>0.016686901040993983</c:v>
                </c:pt>
                <c:pt idx="40">
                  <c:v>0.02520423394287269</c:v>
                </c:pt>
                <c:pt idx="41">
                  <c:v>0.029172243693566597</c:v>
                </c:pt>
                <c:pt idx="42">
                  <c:v>0.01536564626860177</c:v>
                </c:pt>
                <c:pt idx="43">
                  <c:v>0.018159229438239152</c:v>
                </c:pt>
                <c:pt idx="44">
                  <c:v>0.015163661521597411</c:v>
                </c:pt>
                <c:pt idx="45">
                  <c:v>0.021231786451207452</c:v>
                </c:pt>
                <c:pt idx="46">
                  <c:v>0.016817703704584807</c:v>
                </c:pt>
                <c:pt idx="47">
                  <c:v>0.01102371987503255</c:v>
                </c:pt>
                <c:pt idx="48">
                  <c:v>0.011981754356366853</c:v>
                </c:pt>
                <c:pt idx="49">
                  <c:v>0.015019776013179971</c:v>
                </c:pt>
                <c:pt idx="50">
                  <c:v>0.012713907075700814</c:v>
                </c:pt>
                <c:pt idx="51">
                  <c:v>0.012885639793366169</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5516895541357882</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5516895541357882</c:v>
                </c:pt>
                <c:pt idx="1">
                  <c:v>1.5516895541357882</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5516895541357882</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5516895541357882</c:v>
                </c:pt>
                <c:pt idx="1">
                  <c:v>1.5516895541357882</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7543845252099073</c:v>
                </c:pt>
              </c:numCache>
            </c:numRef>
          </c:xVal>
          <c:yVal>
            <c:numRef>
              <c:f>Sheet1!$B$178:$B$179</c:f>
              <c:numCache>
                <c:formatCode>General</c:formatCode>
                <c:ptCount val="2"/>
                <c:pt idx="0">
                  <c:v>0.01703278485963925</c:v>
                </c:pt>
                <c:pt idx="1">
                  <c:v>0.01703278485963925</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7543845252099073</c:v>
                </c:pt>
                <c:pt idx="1">
                  <c:v>1.7543845252099073</c:v>
                </c:pt>
              </c:numCache>
            </c:numRef>
          </c:xVal>
          <c:yVal>
            <c:numRef>
              <c:f>Sheet1!$B$182:$B$183</c:f>
              <c:numCache>
                <c:formatCode>General</c:formatCode>
                <c:ptCount val="2"/>
                <c:pt idx="0">
                  <c:v>0.017032784859639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7973796139953404</c:v>
                </c:pt>
                <c:pt idx="1">
                  <c:v>1.695182912974324</c:v>
                </c:pt>
                <c:pt idx="2">
                  <c:v>1.7133601087367527</c:v>
                </c:pt>
                <c:pt idx="3">
                  <c:v>1.5790984725184745</c:v>
                </c:pt>
                <c:pt idx="4">
                  <c:v>1.6917423679134473</c:v>
                </c:pt>
                <c:pt idx="5">
                  <c:v>1.7342874115677485</c:v>
                </c:pt>
                <c:pt idx="6">
                  <c:v>1.7665948348053284</c:v>
                </c:pt>
                <c:pt idx="7">
                  <c:v>1.6624772007798907</c:v>
                </c:pt>
                <c:pt idx="8">
                  <c:v>1.7181183711600816</c:v>
                </c:pt>
                <c:pt idx="9">
                  <c:v>1.7772169437846397</c:v>
                </c:pt>
                <c:pt idx="10">
                  <c:v>1.6688101858313027</c:v>
                </c:pt>
                <c:pt idx="11">
                  <c:v>1.3963686557655555</c:v>
                </c:pt>
                <c:pt idx="12">
                  <c:v>1.5353584498550972</c:v>
                </c:pt>
                <c:pt idx="13">
                  <c:v>1.714067481402763</c:v>
                </c:pt>
                <c:pt idx="14">
                  <c:v>1.52553694707236</c:v>
                </c:pt>
                <c:pt idx="15">
                  <c:v>1.510003484063051</c:v>
                </c:pt>
                <c:pt idx="16">
                  <c:v>1.687421078193298</c:v>
                </c:pt>
                <c:pt idx="17">
                  <c:v>1.6878997407087295</c:v>
                </c:pt>
                <c:pt idx="18">
                  <c:v>1.7051641572112688</c:v>
                </c:pt>
                <c:pt idx="19">
                  <c:v>1.4869987171621397</c:v>
                </c:pt>
                <c:pt idx="20">
                  <c:v>1.4615846666302625</c:v>
                </c:pt>
                <c:pt idx="21">
                  <c:v>1.6441566904554197</c:v>
                </c:pt>
                <c:pt idx="22">
                  <c:v>1.6758348216701846</c:v>
                </c:pt>
                <c:pt idx="23">
                  <c:v>1.7100647439670393</c:v>
                </c:pt>
                <c:pt idx="24">
                  <c:v>1.7424107192048748</c:v>
                </c:pt>
                <c:pt idx="25">
                  <c:v>1.777766359515409</c:v>
                </c:pt>
                <c:pt idx="26">
                  <c:v>1.6924780502062886</c:v>
                </c:pt>
                <c:pt idx="27">
                  <c:v>1.5832288849308442</c:v>
                </c:pt>
                <c:pt idx="28">
                  <c:v>1.5108385254413292</c:v>
                </c:pt>
                <c:pt idx="29">
                  <c:v>1.7115434647361574</c:v>
                </c:pt>
                <c:pt idx="30">
                  <c:v>1.719396488205221</c:v>
                </c:pt>
                <c:pt idx="31">
                  <c:v>1.6144116682013991</c:v>
                </c:pt>
                <c:pt idx="32">
                  <c:v>1.6214257421502818</c:v>
                </c:pt>
                <c:pt idx="33">
                  <c:v>1.609745091133222</c:v>
                </c:pt>
                <c:pt idx="34">
                  <c:v>1.624275534968251</c:v>
                </c:pt>
                <c:pt idx="35">
                  <c:v>1.7776950125425846</c:v>
                </c:pt>
                <c:pt idx="36">
                  <c:v>1.618470450621066</c:v>
                </c:pt>
                <c:pt idx="37">
                  <c:v>1.6439399028234924</c:v>
                </c:pt>
                <c:pt idx="38">
                  <c:v>1.764054687750929</c:v>
                </c:pt>
                <c:pt idx="39">
                  <c:v>1.7484242404785602</c:v>
                </c:pt>
                <c:pt idx="40">
                  <c:v>1.8452917742853392</c:v>
                </c:pt>
                <c:pt idx="41">
                  <c:v>1.6524385237489223</c:v>
                </c:pt>
                <c:pt idx="42">
                  <c:v>1.6465281409663273</c:v>
                </c:pt>
                <c:pt idx="43">
                  <c:v>1.592822831308279</c:v>
                </c:pt>
                <c:pt idx="44">
                  <c:v>1.5725492069558573</c:v>
                </c:pt>
                <c:pt idx="45">
                  <c:v>1.5031218731238742</c:v>
                </c:pt>
                <c:pt idx="46">
                  <c:v>1.6803038787865983</c:v>
                </c:pt>
                <c:pt idx="47">
                  <c:v>1.675164346481052</c:v>
                </c:pt>
                <c:pt idx="48">
                  <c:v>1.7357771260997068</c:v>
                </c:pt>
                <c:pt idx="49">
                  <c:v>1.599329311890112</c:v>
                </c:pt>
                <c:pt idx="50">
                  <c:v>1.6866376144542918</c:v>
                </c:pt>
                <c:pt idx="51">
                  <c:v>1.6423942166725647</c:v>
                </c:pt>
                <c:pt idx="52">
                  <c:v>1.5516895541357882</c:v>
                </c:pt>
                <c:pt idx="53">
                  <c:v>1.5516895541357882</c:v>
                </c:pt>
                <c:pt idx="54">
                  <c:v>1.7543845252099073</c:v>
                </c:pt>
              </c:numCache>
            </c:numRef>
          </c:xVal>
          <c:yVal>
            <c:numRef>
              <c:f>Sheet1!$B$186:$B$240</c:f>
              <c:numCache>
                <c:formatCode>General</c:formatCode>
                <c:ptCount val="55"/>
                <c:pt idx="0">
                  <c:v>0.015237507550936877</c:v>
                </c:pt>
                <c:pt idx="1">
                  <c:v>0.019504772104869686</c:v>
                </c:pt>
                <c:pt idx="2">
                  <c:v>0.018745775949495183</c:v>
                </c:pt>
                <c:pt idx="3">
                  <c:v>0.024351924831634342</c:v>
                </c:pt>
                <c:pt idx="4">
                  <c:v>0.019648433454382996</c:v>
                </c:pt>
                <c:pt idx="5">
                  <c:v>0.017871947962016785</c:v>
                </c:pt>
                <c:pt idx="6">
                  <c:v>0.016522938447685404</c:v>
                </c:pt>
                <c:pt idx="7">
                  <c:v>0.020870412335562985</c:v>
                </c:pt>
                <c:pt idx="8">
                  <c:v>0.018547092778957164</c:v>
                </c:pt>
                <c:pt idx="9">
                  <c:v>0.016079407994328554</c:v>
                </c:pt>
                <c:pt idx="10">
                  <c:v>0.020605975985265146</c:v>
                </c:pt>
                <c:pt idx="11">
                  <c:v>0.03198188218041429</c:v>
                </c:pt>
                <c:pt idx="12">
                  <c:v>0.026178307155475353</c:v>
                </c:pt>
                <c:pt idx="13">
                  <c:v>0.01871623931794124</c:v>
                </c:pt>
                <c:pt idx="14">
                  <c:v>0.026588407973529224</c:v>
                </c:pt>
                <c:pt idx="15">
                  <c:v>0.02723701399933255</c:v>
                </c:pt>
                <c:pt idx="16">
                  <c:v>0.019828870653097228</c:v>
                </c:pt>
                <c:pt idx="17">
                  <c:v>0.019808883906313912</c:v>
                </c:pt>
                <c:pt idx="18">
                  <c:v>0.019088001217835854</c:v>
                </c:pt>
                <c:pt idx="19">
                  <c:v>0.028197587338657445</c:v>
                </c:pt>
                <c:pt idx="20">
                  <c:v>0.029258761289705386</c:v>
                </c:pt>
                <c:pt idx="21">
                  <c:v>0.021635392648396146</c:v>
                </c:pt>
                <c:pt idx="22">
                  <c:v>0.020312659476805814</c:v>
                </c:pt>
                <c:pt idx="23">
                  <c:v>0.018883375237276345</c:v>
                </c:pt>
                <c:pt idx="24">
                  <c:v>0.017532755968593508</c:v>
                </c:pt>
                <c:pt idx="25">
                  <c:v>0.016056466918443896</c:v>
                </c:pt>
                <c:pt idx="26">
                  <c:v>0.019617714742919387</c:v>
                </c:pt>
                <c:pt idx="27">
                  <c:v>0.024179457792049525</c:v>
                </c:pt>
                <c:pt idx="28">
                  <c:v>0.027202146509100536</c:v>
                </c:pt>
                <c:pt idx="29">
                  <c:v>0.01882163065393677</c:v>
                </c:pt>
                <c:pt idx="30">
                  <c:v>0.01849372448518631</c:v>
                </c:pt>
                <c:pt idx="31">
                  <c:v>0.022877408074064562</c:v>
                </c:pt>
                <c:pt idx="32">
                  <c:v>0.02258453258159074</c:v>
                </c:pt>
                <c:pt idx="33">
                  <c:v>0.02307226288554358</c:v>
                </c:pt>
                <c:pt idx="34">
                  <c:v>0.02246553833073256</c:v>
                </c:pt>
                <c:pt idx="35">
                  <c:v>0.016059446040129058</c:v>
                </c:pt>
                <c:pt idx="36">
                  <c:v>0.022707931973774312</c:v>
                </c:pt>
                <c:pt idx="37">
                  <c:v>0.021644444703581997</c:v>
                </c:pt>
                <c:pt idx="38">
                  <c:v>0.016629003314542368</c:v>
                </c:pt>
                <c:pt idx="39">
                  <c:v>0.017281658957445947</c:v>
                </c:pt>
                <c:pt idx="40">
                  <c:v>0.013236915934326715</c:v>
                </c:pt>
                <c:pt idx="41">
                  <c:v>0.021289581352122736</c:v>
                </c:pt>
                <c:pt idx="42">
                  <c:v>0.021536371773891394</c:v>
                </c:pt>
                <c:pt idx="43">
                  <c:v>0.02377885868366597</c:v>
                </c:pt>
                <c:pt idx="44">
                  <c:v>0.02462539206208733</c:v>
                </c:pt>
                <c:pt idx="45">
                  <c:v>0.02752435844530117</c:v>
                </c:pt>
                <c:pt idx="46">
                  <c:v>0.02012605219074036</c:v>
                </c:pt>
                <c:pt idx="47">
                  <c:v>0.02034065543930061</c:v>
                </c:pt>
                <c:pt idx="48">
                  <c:v>0.017809744329666685</c:v>
                </c:pt>
                <c:pt idx="49">
                  <c:v>0.02350717795737718</c:v>
                </c:pt>
                <c:pt idx="50">
                  <c:v>0.019861584498156323</c:v>
                </c:pt>
                <c:pt idx="51">
                  <c:v>0.021708985453503096</c:v>
                </c:pt>
                <c:pt idx="52">
                  <c:v>0.02549639529601873</c:v>
                </c:pt>
                <c:pt idx="53">
                  <c:v>0.02549639529601873</c:v>
                </c:pt>
                <c:pt idx="54">
                  <c:v>0.01703278485963925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4.1311</c:v>
                </c:pt>
                <c:pt idx="1">
                  <c:v>14.5135</c:v>
                </c:pt>
                <c:pt idx="2">
                  <c:v>14.458</c:v>
                </c:pt>
                <c:pt idx="3">
                  <c:v>14.0664</c:v>
                </c:pt>
                <c:pt idx="4">
                  <c:v>13.9734</c:v>
                </c:pt>
                <c:pt idx="5">
                  <c:v>14.0094</c:v>
                </c:pt>
                <c:pt idx="6">
                  <c:v>13.8736</c:v>
                </c:pt>
                <c:pt idx="7">
                  <c:v>10.8247</c:v>
                </c:pt>
                <c:pt idx="8">
                  <c:v>13.8746</c:v>
                </c:pt>
                <c:pt idx="9">
                  <c:v>14.4651</c:v>
                </c:pt>
                <c:pt idx="10">
                  <c:v>14.4635</c:v>
                </c:pt>
                <c:pt idx="11">
                  <c:v>12.9158</c:v>
                </c:pt>
                <c:pt idx="12">
                  <c:v>12.5129</c:v>
                </c:pt>
                <c:pt idx="13">
                  <c:v>14.415</c:v>
                </c:pt>
                <c:pt idx="14">
                  <c:v>15.0078</c:v>
                </c:pt>
                <c:pt idx="15">
                  <c:v>15.1765</c:v>
                </c:pt>
                <c:pt idx="16">
                  <c:v>14.5182</c:v>
                </c:pt>
                <c:pt idx="17">
                  <c:v>14.5948</c:v>
                </c:pt>
                <c:pt idx="18">
                  <c:v>14.8373</c:v>
                </c:pt>
                <c:pt idx="19">
                  <c:v>14.6007</c:v>
                </c:pt>
                <c:pt idx="20">
                  <c:v>13.4956</c:v>
                </c:pt>
                <c:pt idx="21">
                  <c:v>14.3283</c:v>
                </c:pt>
                <c:pt idx="22">
                  <c:v>14.0516</c:v>
                </c:pt>
                <c:pt idx="23">
                  <c:v>14.4113</c:v>
                </c:pt>
                <c:pt idx="24">
                  <c:v>14.2702</c:v>
                </c:pt>
                <c:pt idx="25">
                  <c:v>14.45</c:v>
                </c:pt>
                <c:pt idx="26">
                  <c:v>14.2139</c:v>
                </c:pt>
                <c:pt idx="27">
                  <c:v>12.3248</c:v>
                </c:pt>
                <c:pt idx="28">
                  <c:v>12.8195</c:v>
                </c:pt>
                <c:pt idx="29">
                  <c:v>14.9857</c:v>
                </c:pt>
                <c:pt idx="30">
                  <c:v>15.1217</c:v>
                </c:pt>
                <c:pt idx="31">
                  <c:v>13.8895</c:v>
                </c:pt>
                <c:pt idx="32">
                  <c:v>13.6892</c:v>
                </c:pt>
                <c:pt idx="33">
                  <c:v>15.4179</c:v>
                </c:pt>
                <c:pt idx="34">
                  <c:v>13.1818</c:v>
                </c:pt>
                <c:pt idx="35">
                  <c:v>13.305</c:v>
                </c:pt>
                <c:pt idx="36">
                  <c:v>15.3387</c:v>
                </c:pt>
                <c:pt idx="37">
                  <c:v>15.5086</c:v>
                </c:pt>
                <c:pt idx="38">
                  <c:v>16.2526</c:v>
                </c:pt>
                <c:pt idx="39">
                  <c:v>15.6095</c:v>
                </c:pt>
                <c:pt idx="40">
                  <c:v>15.8886</c:v>
                </c:pt>
                <c:pt idx="41">
                  <c:v>15.4442</c:v>
                </c:pt>
                <c:pt idx="42">
                  <c:v>13.9071</c:v>
                </c:pt>
                <c:pt idx="43">
                  <c:v>15.9194</c:v>
                </c:pt>
                <c:pt idx="44">
                  <c:v>16.0103</c:v>
                </c:pt>
                <c:pt idx="45">
                  <c:v>16.1111</c:v>
                </c:pt>
                <c:pt idx="46">
                  <c:v>16.3048</c:v>
                </c:pt>
                <c:pt idx="47">
                  <c:v>15.8923</c:v>
                </c:pt>
                <c:pt idx="48">
                  <c:v>16.8504</c:v>
                </c:pt>
                <c:pt idx="49">
                  <c:v>16.2164</c:v>
                </c:pt>
                <c:pt idx="50">
                  <c:v>16.2952</c:v>
                </c:pt>
                <c:pt idx="51">
                  <c:v>16.8301</c:v>
                </c:pt>
                <c:pt idx="52">
                  <c:v>16.3865</c:v>
                </c:pt>
                <c:pt idx="53">
                  <c:v>16.4316</c:v>
                </c:pt>
                <c:pt idx="54">
                  <c:v>16.2607</c:v>
                </c:pt>
                <c:pt idx="55">
                  <c:v>16.3036</c:v>
                </c:pt>
                <c:pt idx="56">
                  <c:v>16.128</c:v>
                </c:pt>
                <c:pt idx="57">
                  <c:v>16.5169</c:v>
                </c:pt>
                <c:pt idx="58">
                  <c:v>16.4224</c:v>
                </c:pt>
                <c:pt idx="59">
                  <c:v>15.9404</c:v>
                </c:pt>
                <c:pt idx="60">
                  <c:v>16.501</c:v>
                </c:pt>
                <c:pt idx="61">
                  <c:v>15.984</c:v>
                </c:pt>
                <c:pt idx="62">
                  <c:v>15.8963</c:v>
                </c:pt>
                <c:pt idx="63">
                  <c:v>13.38</c:v>
                </c:pt>
                <c:pt idx="64">
                  <c:v>14.5733</c:v>
                </c:pt>
                <c:pt idx="65">
                  <c:v>15.5397</c:v>
                </c:pt>
                <c:pt idx="66">
                  <c:v>14.4175</c:v>
                </c:pt>
                <c:pt idx="67">
                  <c:v>13.8488</c:v>
                </c:pt>
                <c:pt idx="68">
                  <c:v>15.4038</c:v>
                </c:pt>
                <c:pt idx="69">
                  <c:v>15.4299</c:v>
                </c:pt>
                <c:pt idx="70">
                  <c:v>15.4659</c:v>
                </c:pt>
                <c:pt idx="71">
                  <c:v>14.2607</c:v>
                </c:pt>
                <c:pt idx="72">
                  <c:v>14.1274</c:v>
                </c:pt>
                <c:pt idx="73">
                  <c:v>15.9551</c:v>
                </c:pt>
                <c:pt idx="74">
                  <c:v>15.5714</c:v>
                </c:pt>
                <c:pt idx="75">
                  <c:v>15.8426</c:v>
                </c:pt>
                <c:pt idx="76">
                  <c:v>15.9436</c:v>
                </c:pt>
                <c:pt idx="77">
                  <c:v>16.2661</c:v>
                </c:pt>
                <c:pt idx="78">
                  <c:v>15.899</c:v>
                </c:pt>
                <c:pt idx="79">
                  <c:v>12.6412</c:v>
                </c:pt>
                <c:pt idx="80">
                  <c:v>13.5742</c:v>
                </c:pt>
                <c:pt idx="81">
                  <c:v>15.8711</c:v>
                </c:pt>
                <c:pt idx="82">
                  <c:v>15.9673</c:v>
                </c:pt>
                <c:pt idx="83">
                  <c:v>15.5228</c:v>
                </c:pt>
                <c:pt idx="84">
                  <c:v>15.4348</c:v>
                </c:pt>
                <c:pt idx="85">
                  <c:v>13.5798</c:v>
                </c:pt>
                <c:pt idx="86">
                  <c:v>14.4969</c:v>
                </c:pt>
                <c:pt idx="87">
                  <c:v>15.8225</c:v>
                </c:pt>
                <c:pt idx="88">
                  <c:v>16.5054</c:v>
                </c:pt>
                <c:pt idx="89">
                  <c:v>15.6866</c:v>
                </c:pt>
                <c:pt idx="90">
                  <c:v>15.9804</c:v>
                </c:pt>
                <c:pt idx="91">
                  <c:v>15.9201</c:v>
                </c:pt>
                <c:pt idx="92">
                  <c:v>14.7839</c:v>
                </c:pt>
                <c:pt idx="93">
                  <c:v>14.3655</c:v>
                </c:pt>
                <c:pt idx="94">
                  <c:v>15.9672</c:v>
                </c:pt>
                <c:pt idx="95">
                  <c:v>16.6519</c:v>
                </c:pt>
                <c:pt idx="96">
                  <c:v>16.2332</c:v>
                </c:pt>
                <c:pt idx="97">
                  <c:v>16.1649</c:v>
                </c:pt>
                <c:pt idx="98">
                  <c:v>13.2404</c:v>
                </c:pt>
                <c:pt idx="99">
                  <c:v>16.0572</c:v>
                </c:pt>
                <c:pt idx="100">
                  <c:v>15.9951</c:v>
                </c:pt>
                <c:pt idx="101">
                  <c:v>13.4799</c:v>
                </c:pt>
                <c:pt idx="102">
                  <c:v>14.0491</c:v>
                </c:pt>
                <c:pt idx="103">
                  <c:v>16.059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31480047262</c:v>
                </c:pt>
                <c:pt idx="23">
                  <c:v>0.013951671410234946</c:v>
                </c:pt>
                <c:pt idx="24">
                  <c:v>0.016285300586309212</c:v>
                </c:pt>
                <c:pt idx="25">
                  <c:v>0.023162485219782515</c:v>
                </c:pt>
                <c:pt idx="26">
                  <c:v>0.01726092969110129</c:v>
                </c:pt>
                <c:pt idx="27">
                  <c:v>0.02212224293844631</c:v>
                </c:pt>
                <c:pt idx="28">
                  <c:v>0.0270796422100541</c:v>
                </c:pt>
                <c:pt idx="29">
                  <c:v>0.021287875016180586</c:v>
                </c:pt>
                <c:pt idx="30">
                  <c:v>0.01794075219393254</c:v>
                </c:pt>
                <c:pt idx="31">
                  <c:v>0.01815128588771085</c:v>
                </c:pt>
                <c:pt idx="32">
                  <c:v>0.02722889936763876</c:v>
                </c:pt>
                <c:pt idx="33">
                  <c:v>0.03242273139245778</c:v>
                </c:pt>
                <c:pt idx="34">
                  <c:v>0.02654277780711809</c:v>
                </c:pt>
                <c:pt idx="35">
                  <c:v>0.015661578110474195</c:v>
                </c:pt>
                <c:pt idx="36">
                  <c:v>0.025226537986722072</c:v>
                </c:pt>
                <c:pt idx="37">
                  <c:v>0.024393040748925787</c:v>
                </c:pt>
                <c:pt idx="38">
                  <c:v>0.014911469596569443</c:v>
                </c:pt>
                <c:pt idx="39">
                  <c:v>0.016686901040993983</c:v>
                </c:pt>
                <c:pt idx="40">
                  <c:v>0.02520423394287269</c:v>
                </c:pt>
                <c:pt idx="41">
                  <c:v>0.029172243693566597</c:v>
                </c:pt>
                <c:pt idx="42">
                  <c:v>0.01536564626860177</c:v>
                </c:pt>
                <c:pt idx="43">
                  <c:v>0.018159229438239152</c:v>
                </c:pt>
                <c:pt idx="44">
                  <c:v>0.015163661521597411</c:v>
                </c:pt>
                <c:pt idx="45">
                  <c:v>0.021231786451207452</c:v>
                </c:pt>
                <c:pt idx="46">
                  <c:v>0.016817703704584807</c:v>
                </c:pt>
                <c:pt idx="47">
                  <c:v>0.01102371987503255</c:v>
                </c:pt>
                <c:pt idx="48">
                  <c:v>0.011981754356366853</c:v>
                </c:pt>
                <c:pt idx="49">
                  <c:v>0.015019776013179971</c:v>
                </c:pt>
                <c:pt idx="50">
                  <c:v>0.012713907075700814</c:v>
                </c:pt>
                <c:pt idx="51">
                  <c:v>0.012885639793366169</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14.703420120939176</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14.703420120939176</c:v>
                </c:pt>
                <c:pt idx="1">
                  <c:v>14.703420120939176</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4.703420120939176</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4.703420120939176</c:v>
                </c:pt>
                <c:pt idx="1">
                  <c:v>14.703420120939176</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6.334750400195393</c:v>
                </c:pt>
              </c:numCache>
            </c:numRef>
          </c:xVal>
          <c:yVal>
            <c:numRef>
              <c:f>Sheet1!$B$178:$B$179</c:f>
              <c:numCache>
                <c:formatCode>General</c:formatCode>
                <c:ptCount val="2"/>
                <c:pt idx="0">
                  <c:v>0.01703278485963925</c:v>
                </c:pt>
                <c:pt idx="1">
                  <c:v>0.01703278485963925</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6.334750400195393</c:v>
                </c:pt>
                <c:pt idx="1">
                  <c:v>16.334750400195393</c:v>
                </c:pt>
              </c:numCache>
            </c:numRef>
          </c:xVal>
          <c:yVal>
            <c:numRef>
              <c:f>Sheet1!$B$182:$B$183</c:f>
              <c:numCache>
                <c:formatCode>General</c:formatCode>
                <c:ptCount val="2"/>
                <c:pt idx="0">
                  <c:v>0.017032784859639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pt idx="52">
                  <c:v>14.703420120939176</c:v>
                </c:pt>
                <c:pt idx="53">
                  <c:v>14.703420120939176</c:v>
                </c:pt>
                <c:pt idx="54">
                  <c:v>16.334750400195393</c:v>
                </c:pt>
              </c:numCache>
            </c:numRef>
          </c:xVal>
          <c:yVal>
            <c:numRef>
              <c:f>Sheet1!$B$186:$B$240</c:f>
              <c:numCache>
                <c:formatCode>General</c:formatCode>
                <c:ptCount val="55"/>
                <c:pt idx="0">
                  <c:v>0.014521455733510671</c:v>
                </c:pt>
                <c:pt idx="1">
                  <c:v>0.01662629421882629</c:v>
                </c:pt>
                <c:pt idx="2">
                  <c:v>0.01479850373724706</c:v>
                </c:pt>
                <c:pt idx="3">
                  <c:v>0.020737914873528357</c:v>
                </c:pt>
                <c:pt idx="4">
                  <c:v>0.020330125115219727</c:v>
                </c:pt>
                <c:pt idx="5">
                  <c:v>0.01847431854337503</c:v>
                </c:pt>
                <c:pt idx="6">
                  <c:v>0.01969405610289611</c:v>
                </c:pt>
                <c:pt idx="7">
                  <c:v>0.019497424654551357</c:v>
                </c:pt>
                <c:pt idx="8">
                  <c:v>0.020677213344619805</c:v>
                </c:pt>
                <c:pt idx="9">
                  <c:v>0.017932674131575788</c:v>
                </c:pt>
                <c:pt idx="10">
                  <c:v>0.021131177770217835</c:v>
                </c:pt>
                <c:pt idx="11">
                  <c:v>0.03355060682160686</c:v>
                </c:pt>
                <c:pt idx="12">
                  <c:v>0.026467724149304955</c:v>
                </c:pt>
                <c:pt idx="13">
                  <c:v>0.02144558056097487</c:v>
                </c:pt>
                <c:pt idx="14">
                  <c:v>0.027489273811022105</c:v>
                </c:pt>
                <c:pt idx="15">
                  <c:v>0.027577472613709714</c:v>
                </c:pt>
                <c:pt idx="16">
                  <c:v>0.020664242932459873</c:v>
                </c:pt>
                <c:pt idx="17">
                  <c:v>0.020724425644882</c:v>
                </c:pt>
                <c:pt idx="18">
                  <c:v>0.019757351714236634</c:v>
                </c:pt>
                <c:pt idx="19">
                  <c:v>0.032620887677982116</c:v>
                </c:pt>
                <c:pt idx="20">
                  <c:v>0.03234695257316411</c:v>
                </c:pt>
                <c:pt idx="21">
                  <c:v>0.020621699980575253</c:v>
                </c:pt>
                <c:pt idx="22">
                  <c:v>0.021455956890702815</c:v>
                </c:pt>
                <c:pt idx="23">
                  <c:v>0.018874844870874083</c:v>
                </c:pt>
                <c:pt idx="24">
                  <c:v>0.019740230770185496</c:v>
                </c:pt>
                <c:pt idx="25">
                  <c:v>0.021003030098077594</c:v>
                </c:pt>
                <c:pt idx="26">
                  <c:v>0.02367182210410755</c:v>
                </c:pt>
                <c:pt idx="27">
                  <c:v>0.027070070090012735</c:v>
                </c:pt>
                <c:pt idx="28">
                  <c:v>0.029314989026655747</c:v>
                </c:pt>
                <c:pt idx="29">
                  <c:v>0.02327855920741806</c:v>
                </c:pt>
                <c:pt idx="30">
                  <c:v>0.023086078290964512</c:v>
                </c:pt>
                <c:pt idx="31">
                  <c:v>0.022646121910499223</c:v>
                </c:pt>
                <c:pt idx="32">
                  <c:v>0.02320073673445841</c:v>
                </c:pt>
                <c:pt idx="33">
                  <c:v>0.025900657729672233</c:v>
                </c:pt>
                <c:pt idx="34">
                  <c:v>0.025735674086997756</c:v>
                </c:pt>
                <c:pt idx="35">
                  <c:v>0.0175845482692029</c:v>
                </c:pt>
                <c:pt idx="36">
                  <c:v>0.026405466170937225</c:v>
                </c:pt>
                <c:pt idx="37">
                  <c:v>0.025597150085129555</c:v>
                </c:pt>
                <c:pt idx="38">
                  <c:v>0.016295808116990926</c:v>
                </c:pt>
                <c:pt idx="39">
                  <c:v>0.017013331317679</c:v>
                </c:pt>
                <c:pt idx="40">
                  <c:v>0.014303552809223616</c:v>
                </c:pt>
                <c:pt idx="41">
                  <c:v>0.018247076922332822</c:v>
                </c:pt>
                <c:pt idx="42">
                  <c:v>0.016844197143113346</c:v>
                </c:pt>
                <c:pt idx="43">
                  <c:v>0.01989224400070004</c:v>
                </c:pt>
                <c:pt idx="44">
                  <c:v>0.016391789166974507</c:v>
                </c:pt>
                <c:pt idx="45">
                  <c:v>0.023842512728132412</c:v>
                </c:pt>
                <c:pt idx="46">
                  <c:v>0.019273295932427534</c:v>
                </c:pt>
                <c:pt idx="47">
                  <c:v>0.011880161001259784</c:v>
                </c:pt>
                <c:pt idx="48">
                  <c:v>0.012724794241115306</c:v>
                </c:pt>
                <c:pt idx="49">
                  <c:v>0.01938432266051665</c:v>
                </c:pt>
                <c:pt idx="50">
                  <c:v>0.012423880679004615</c:v>
                </c:pt>
                <c:pt idx="51">
                  <c:v>0.017503094080838458</c:v>
                </c:pt>
                <c:pt idx="52">
                  <c:v>0.02549639529601873</c:v>
                </c:pt>
                <c:pt idx="53">
                  <c:v>0.02549639529601873</c:v>
                </c:pt>
                <c:pt idx="54">
                  <c:v>0.0170327848596392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0"/>
          <c:min val="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6117593384659252</c:v>
                </c:pt>
                <c:pt idx="1">
                  <c:v>1.6685444282216066</c:v>
                </c:pt>
                <c:pt idx="2">
                  <c:v>1.5561128391686667</c:v>
                </c:pt>
                <c:pt idx="3">
                  <c:v>1.5796779192776766</c:v>
                </c:pt>
                <c:pt idx="4">
                  <c:v>1.517215170631603</c:v>
                </c:pt>
                <c:pt idx="5">
                  <c:v>1.6039705983375696</c:v>
                </c:pt>
                <c:pt idx="6">
                  <c:v>1.668342191971909</c:v>
                </c:pt>
                <c:pt idx="7">
                  <c:v>1.2579692965635858</c:v>
                </c:pt>
                <c:pt idx="8">
                  <c:v>1.5354633082856541</c:v>
                </c:pt>
                <c:pt idx="9">
                  <c:v>1.564132785467128</c:v>
                </c:pt>
                <c:pt idx="10">
                  <c:v>1.8255310555478423</c:v>
                </c:pt>
                <c:pt idx="11">
                  <c:v>1.5052502767903968</c:v>
                </c:pt>
                <c:pt idx="12">
                  <c:v>1.3784825884348872</c:v>
                </c:pt>
                <c:pt idx="13">
                  <c:v>1.5525876460767947</c:v>
                </c:pt>
                <c:pt idx="14">
                  <c:v>1.7153143680065834</c:v>
                </c:pt>
                <c:pt idx="15">
                  <c:v>1.809224643555386</c:v>
                </c:pt>
                <c:pt idx="16">
                  <c:v>1.6542883513177837</c:v>
                </c:pt>
                <c:pt idx="17">
                  <c:v>1.5346470105781163</c:v>
                </c:pt>
                <c:pt idx="18">
                  <c:v>1.7268939349852768</c:v>
                </c:pt>
                <c:pt idx="19">
                  <c:v>1.5008788972152836</c:v>
                </c:pt>
                <c:pt idx="20">
                  <c:v>1.5976229090952137</c:v>
                </c:pt>
                <c:pt idx="21">
                  <c:v>1.6594436208653758</c:v>
                </c:pt>
                <c:pt idx="22">
                  <c:v>1.528710372288344</c:v>
                </c:pt>
                <c:pt idx="23">
                  <c:v>1.4237460606000731</c:v>
                </c:pt>
                <c:pt idx="24">
                  <c:v>1.4896446615725085</c:v>
                </c:pt>
                <c:pt idx="25">
                  <c:v>1.5794421126267926</c:v>
                </c:pt>
                <c:pt idx="26">
                  <c:v>1.5723862517561424</c:v>
                </c:pt>
                <c:pt idx="27">
                  <c:v>1.3510479698325002</c:v>
                </c:pt>
                <c:pt idx="28">
                  <c:v>1.3169817135812616</c:v>
                </c:pt>
                <c:pt idx="29">
                  <c:v>1.6856615786099143</c:v>
                </c:pt>
                <c:pt idx="30">
                  <c:v>1.6181248127380903</c:v>
                </c:pt>
                <c:pt idx="31">
                  <c:v>1.5036320136836523</c:v>
                </c:pt>
                <c:pt idx="32">
                  <c:v>1.3810595131203276</c:v>
                </c:pt>
                <c:pt idx="33">
                  <c:v>1.6030589116014056</c:v>
                </c:pt>
                <c:pt idx="34">
                  <c:v>1.3237264136732911</c:v>
                </c:pt>
                <c:pt idx="35">
                  <c:v>1.329184107733344</c:v>
                </c:pt>
                <c:pt idx="36">
                  <c:v>1.5622402835492544</c:v>
                </c:pt>
                <c:pt idx="37">
                  <c:v>1.564029125234474</c:v>
                </c:pt>
                <c:pt idx="38">
                  <c:v>1.6500771604938271</c:v>
                </c:pt>
                <c:pt idx="39">
                  <c:v>1.6625483283451736</c:v>
                </c:pt>
                <c:pt idx="40">
                  <c:v>1.7471135448967472</c:v>
                </c:pt>
                <c:pt idx="41">
                  <c:v>1.4829231758956092</c:v>
                </c:pt>
                <c:pt idx="42">
                  <c:v>1.439196531133901</c:v>
                </c:pt>
                <c:pt idx="43">
                  <c:v>1.6066407629812787</c:v>
                </c:pt>
                <c:pt idx="44">
                  <c:v>1.8896114625625533</c:v>
                </c:pt>
                <c:pt idx="45">
                  <c:v>1.820257598011524</c:v>
                </c:pt>
                <c:pt idx="46">
                  <c:v>1.6966316687651535</c:v>
                </c:pt>
                <c:pt idx="47">
                  <c:v>1.6900409422023717</c:v>
                </c:pt>
                <c:pt idx="48">
                  <c:v>1.7755579439843208</c:v>
                </c:pt>
                <c:pt idx="49">
                  <c:v>1.5819489020476252</c:v>
                </c:pt>
                <c:pt idx="50">
                  <c:v>1.7548325956557793</c:v>
                </c:pt>
                <c:pt idx="51">
                  <c:v>1.7862934895667497</c:v>
                </c:pt>
                <c:pt idx="52">
                  <c:v>1.6957633082208794</c:v>
                </c:pt>
                <c:pt idx="53">
                  <c:v>1.7796213663735216</c:v>
                </c:pt>
                <c:pt idx="54">
                  <c:v>1.6856754851550837</c:v>
                </c:pt>
                <c:pt idx="55">
                  <c:v>1.6275605957752663</c:v>
                </c:pt>
                <c:pt idx="56">
                  <c:v>1.7212563634617233</c:v>
                </c:pt>
                <c:pt idx="57">
                  <c:v>1.7166122762892597</c:v>
                </c:pt>
                <c:pt idx="58">
                  <c:v>1.69020810604969</c:v>
                </c:pt>
                <c:pt idx="59">
                  <c:v>1.7257678608160922</c:v>
                </c:pt>
                <c:pt idx="60">
                  <c:v>1.780580973756906</c:v>
                </c:pt>
                <c:pt idx="61">
                  <c:v>1.7037242320237054</c:v>
                </c:pt>
                <c:pt idx="62">
                  <c:v>1.6232806069827526</c:v>
                </c:pt>
                <c:pt idx="63">
                  <c:v>1.6311105693039134</c:v>
                </c:pt>
                <c:pt idx="64">
                  <c:v>1.4111842742325942</c:v>
                </c:pt>
                <c:pt idx="65">
                  <c:v>1.623589518555667</c:v>
                </c:pt>
                <c:pt idx="66">
                  <c:v>1.5113158694717863</c:v>
                </c:pt>
                <c:pt idx="67">
                  <c:v>1.5126373506345983</c:v>
                </c:pt>
                <c:pt idx="68">
                  <c:v>1.6167385622973016</c:v>
                </c:pt>
                <c:pt idx="69">
                  <c:v>1.6509453140882293</c:v>
                </c:pt>
                <c:pt idx="70">
                  <c:v>1.6111822983404693</c:v>
                </c:pt>
                <c:pt idx="71">
                  <c:v>1.641727297844907</c:v>
                </c:pt>
                <c:pt idx="72">
                  <c:v>1.5930223379903703</c:v>
                </c:pt>
                <c:pt idx="73">
                  <c:v>1.531787634408602</c:v>
                </c:pt>
                <c:pt idx="74">
                  <c:v>1.6227646004418694</c:v>
                </c:pt>
                <c:pt idx="75">
                  <c:v>1.5062942116072107</c:v>
                </c:pt>
                <c:pt idx="76">
                  <c:v>1.6341683407814358</c:v>
                </c:pt>
                <c:pt idx="77">
                  <c:v>1.72659724654757</c:v>
                </c:pt>
                <c:pt idx="78">
                  <c:v>1.7145845914934</c:v>
                </c:pt>
                <c:pt idx="79">
                  <c:v>1.2930586526462224</c:v>
                </c:pt>
                <c:pt idx="80">
                  <c:v>1.4750556913882096</c:v>
                </c:pt>
                <c:pt idx="81">
                  <c:v>1.7029259970600543</c:v>
                </c:pt>
                <c:pt idx="82">
                  <c:v>1.8139711896755428</c:v>
                </c:pt>
                <c:pt idx="83">
                  <c:v>1.736331096196868</c:v>
                </c:pt>
                <c:pt idx="84">
                  <c:v>1.5134234110564193</c:v>
                </c:pt>
                <c:pt idx="85">
                  <c:v>1.390133794670734</c:v>
                </c:pt>
                <c:pt idx="86">
                  <c:v>1.3429521621521472</c:v>
                </c:pt>
                <c:pt idx="87">
                  <c:v>1.6330206107894438</c:v>
                </c:pt>
                <c:pt idx="88">
                  <c:v>1.583950712064796</c:v>
                </c:pt>
                <c:pt idx="89">
                  <c:v>1.5481317726940766</c:v>
                </c:pt>
                <c:pt idx="90">
                  <c:v>1.6778555904370924</c:v>
                </c:pt>
                <c:pt idx="91">
                  <c:v>1.8437778678556953</c:v>
                </c:pt>
                <c:pt idx="92">
                  <c:v>1.68991689814021</c:v>
                </c:pt>
                <c:pt idx="93">
                  <c:v>1.4956895654165714</c:v>
                </c:pt>
                <c:pt idx="94">
                  <c:v>1.6202459715062711</c:v>
                </c:pt>
                <c:pt idx="95">
                  <c:v>1.654551235555379</c:v>
                </c:pt>
                <c:pt idx="96">
                  <c:v>1.6034215387046749</c:v>
                </c:pt>
                <c:pt idx="97">
                  <c:v>1.7906881425026584</c:v>
                </c:pt>
                <c:pt idx="98">
                  <c:v>1.375625974025974</c:v>
                </c:pt>
                <c:pt idx="99">
                  <c:v>1.6459975603005548</c:v>
                </c:pt>
                <c:pt idx="100">
                  <c:v>1.7063260081075315</c:v>
                </c:pt>
                <c:pt idx="101">
                  <c:v>1.3476126684528331</c:v>
                </c:pt>
                <c:pt idx="102">
                  <c:v>1.3174448372546628</c:v>
                </c:pt>
                <c:pt idx="103">
                  <c:v>1.631890743920903</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6883802640164636</c:v>
                </c:pt>
                <c:pt idx="1">
                  <c:v>1.5678409720497488</c:v>
                </c:pt>
                <c:pt idx="2">
                  <c:v>1.6798997995991982</c:v>
                </c:pt>
                <c:pt idx="3">
                  <c:v>1.603988252931633</c:v>
                </c:pt>
                <c:pt idx="4">
                  <c:v>1.6818288946500117</c:v>
                </c:pt>
                <c:pt idx="5">
                  <c:v>1.6756658039739523</c:v>
                </c:pt>
                <c:pt idx="6">
                  <c:v>1.7401317598407444</c:v>
                </c:pt>
                <c:pt idx="7">
                  <c:v>1.6726818258521767</c:v>
                </c:pt>
                <c:pt idx="8">
                  <c:v>1.5477218272905489</c:v>
                </c:pt>
                <c:pt idx="9">
                  <c:v>1.706596690566954</c:v>
                </c:pt>
                <c:pt idx="10">
                  <c:v>1.6995910870088125</c:v>
                </c:pt>
                <c:pt idx="11">
                  <c:v>1.3729133825387048</c:v>
                </c:pt>
                <c:pt idx="12">
                  <c:v>1.4712016945545208</c:v>
                </c:pt>
                <c:pt idx="13">
                  <c:v>1.5997065933838874</c:v>
                </c:pt>
                <c:pt idx="14">
                  <c:v>1.4699427187057301</c:v>
                </c:pt>
                <c:pt idx="15">
                  <c:v>1.609386955934645</c:v>
                </c:pt>
                <c:pt idx="16">
                  <c:v>1.659269636091566</c:v>
                </c:pt>
                <c:pt idx="17">
                  <c:v>1.6403515218966223</c:v>
                </c:pt>
                <c:pt idx="18">
                  <c:v>1.5122002544310214</c:v>
                </c:pt>
                <c:pt idx="19">
                  <c:v>1.5487446410521544</c:v>
                </c:pt>
                <c:pt idx="20">
                  <c:v>1.5135031213245274</c:v>
                </c:pt>
                <c:pt idx="21">
                  <c:v>1.611401258794565</c:v>
                </c:pt>
                <c:pt idx="22">
                  <c:v>1.494045895817652</c:v>
                </c:pt>
                <c:pt idx="23">
                  <c:v>1.6419580563290552</c:v>
                </c:pt>
                <c:pt idx="24">
                  <c:v>1.5894598234927526</c:v>
                </c:pt>
                <c:pt idx="25">
                  <c:v>1.5305931853483021</c:v>
                </c:pt>
                <c:pt idx="26">
                  <c:v>1.6243822964545434</c:v>
                </c:pt>
                <c:pt idx="27">
                  <c:v>1.4962697423108893</c:v>
                </c:pt>
                <c:pt idx="28">
                  <c:v>1.45063093939866</c:v>
                </c:pt>
                <c:pt idx="29">
                  <c:v>1.6702616182801635</c:v>
                </c:pt>
                <c:pt idx="30">
                  <c:v>1.581499129383061</c:v>
                </c:pt>
                <c:pt idx="31">
                  <c:v>1.7125085609709543</c:v>
                </c:pt>
                <c:pt idx="32">
                  <c:v>1.5482331053799052</c:v>
                </c:pt>
                <c:pt idx="33">
                  <c:v>1.621128821299519</c:v>
                </c:pt>
                <c:pt idx="34">
                  <c:v>1.4478490640588728</c:v>
                </c:pt>
                <c:pt idx="35">
                  <c:v>1.6244482037216845</c:v>
                </c:pt>
                <c:pt idx="36">
                  <c:v>1.561987291825698</c:v>
                </c:pt>
                <c:pt idx="37">
                  <c:v>1.477367621462276</c:v>
                </c:pt>
                <c:pt idx="38">
                  <c:v>1.7195754495454976</c:v>
                </c:pt>
                <c:pt idx="39">
                  <c:v>1.6498036008199288</c:v>
                </c:pt>
                <c:pt idx="40">
                  <c:v>1.6969233401435173</c:v>
                </c:pt>
                <c:pt idx="41">
                  <c:v>1.7076086034277955</c:v>
                </c:pt>
                <c:pt idx="42">
                  <c:v>1.6742789936592348</c:v>
                </c:pt>
                <c:pt idx="43">
                  <c:v>1.6534255185417976</c:v>
                </c:pt>
                <c:pt idx="44">
                  <c:v>1.636632127443766</c:v>
                </c:pt>
                <c:pt idx="45">
                  <c:v>1.5911324831589204</c:v>
                </c:pt>
                <c:pt idx="46">
                  <c:v>1.8373809963952306</c:v>
                </c:pt>
                <c:pt idx="47">
                  <c:v>1.8698903612897655</c:v>
                </c:pt>
                <c:pt idx="48">
                  <c:v>1.9207425559770384</c:v>
                </c:pt>
                <c:pt idx="49">
                  <c:v>1.7733992898139672</c:v>
                </c:pt>
                <c:pt idx="50">
                  <c:v>1.7816938562280817</c:v>
                </c:pt>
                <c:pt idx="51">
                  <c:v>1.622673739099164</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531480047262</c:v>
                </c:pt>
                <c:pt idx="23">
                  <c:v>0.013951671410234946</c:v>
                </c:pt>
                <c:pt idx="24">
                  <c:v>0.016285300586309212</c:v>
                </c:pt>
                <c:pt idx="25">
                  <c:v>0.023162485219782515</c:v>
                </c:pt>
                <c:pt idx="26">
                  <c:v>0.01726092969110129</c:v>
                </c:pt>
                <c:pt idx="27">
                  <c:v>0.02212224293844631</c:v>
                </c:pt>
                <c:pt idx="28">
                  <c:v>0.0270796422100541</c:v>
                </c:pt>
                <c:pt idx="29">
                  <c:v>0.021287875016180586</c:v>
                </c:pt>
                <c:pt idx="30">
                  <c:v>0.01794075219393254</c:v>
                </c:pt>
                <c:pt idx="31">
                  <c:v>0.01815128588771085</c:v>
                </c:pt>
                <c:pt idx="32">
                  <c:v>0.02722889936763876</c:v>
                </c:pt>
                <c:pt idx="33">
                  <c:v>0.03242273139245778</c:v>
                </c:pt>
                <c:pt idx="34">
                  <c:v>0.02654277780711809</c:v>
                </c:pt>
                <c:pt idx="35">
                  <c:v>0.015661578110474195</c:v>
                </c:pt>
                <c:pt idx="36">
                  <c:v>0.025226537986722072</c:v>
                </c:pt>
                <c:pt idx="37">
                  <c:v>0.024393040748925787</c:v>
                </c:pt>
                <c:pt idx="38">
                  <c:v>0.014911469596569443</c:v>
                </c:pt>
                <c:pt idx="39">
                  <c:v>0.016686901040993983</c:v>
                </c:pt>
                <c:pt idx="40">
                  <c:v>0.02520423394287269</c:v>
                </c:pt>
                <c:pt idx="41">
                  <c:v>0.029172243693566597</c:v>
                </c:pt>
                <c:pt idx="42">
                  <c:v>0.01536564626860177</c:v>
                </c:pt>
                <c:pt idx="43">
                  <c:v>0.018159229438239152</c:v>
                </c:pt>
                <c:pt idx="44">
                  <c:v>0.015163661521597411</c:v>
                </c:pt>
                <c:pt idx="45">
                  <c:v>0.021231786451207452</c:v>
                </c:pt>
                <c:pt idx="46">
                  <c:v>0.016817703704584807</c:v>
                </c:pt>
                <c:pt idx="47">
                  <c:v>0.01102371987503255</c:v>
                </c:pt>
                <c:pt idx="48">
                  <c:v>0.011981754356366853</c:v>
                </c:pt>
                <c:pt idx="49">
                  <c:v>0.015019776013179971</c:v>
                </c:pt>
                <c:pt idx="50">
                  <c:v>0.012713907075700814</c:v>
                </c:pt>
                <c:pt idx="51">
                  <c:v>0.012885639793366169</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5113070045625676</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5113070045625676</c:v>
                </c:pt>
                <c:pt idx="1">
                  <c:v>1.5113070045625676</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5113070045625676</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5113070045625676</c:v>
                </c:pt>
                <c:pt idx="1">
                  <c:v>1.5113070045625676</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7304960725092706</c:v>
                </c:pt>
              </c:numCache>
            </c:numRef>
          </c:xVal>
          <c:yVal>
            <c:numRef>
              <c:f>Sheet1!$B$178:$B$179</c:f>
              <c:numCache>
                <c:formatCode>General</c:formatCode>
                <c:ptCount val="2"/>
                <c:pt idx="0">
                  <c:v>0.01703278485963925</c:v>
                </c:pt>
                <c:pt idx="1">
                  <c:v>0.01703278485963925</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7304960725092706</c:v>
                </c:pt>
                <c:pt idx="1">
                  <c:v>1.7304960725092706</c:v>
                </c:pt>
              </c:numCache>
            </c:numRef>
          </c:xVal>
          <c:yVal>
            <c:numRef>
              <c:f>Sheet1!$B$182:$B$183</c:f>
              <c:numCache>
                <c:formatCode>General</c:formatCode>
                <c:ptCount val="2"/>
                <c:pt idx="0">
                  <c:v>0.017032784859639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6883802640164636</c:v>
                </c:pt>
                <c:pt idx="1">
                  <c:v>1.5678409720497488</c:v>
                </c:pt>
                <c:pt idx="2">
                  <c:v>1.6798997995991982</c:v>
                </c:pt>
                <c:pt idx="3">
                  <c:v>1.603988252931633</c:v>
                </c:pt>
                <c:pt idx="4">
                  <c:v>1.6818288946500117</c:v>
                </c:pt>
                <c:pt idx="5">
                  <c:v>1.6756658039739523</c:v>
                </c:pt>
                <c:pt idx="6">
                  <c:v>1.7401317598407444</c:v>
                </c:pt>
                <c:pt idx="7">
                  <c:v>1.6726818258521767</c:v>
                </c:pt>
                <c:pt idx="8">
                  <c:v>1.5477218272905489</c:v>
                </c:pt>
                <c:pt idx="9">
                  <c:v>1.706596690566954</c:v>
                </c:pt>
                <c:pt idx="10">
                  <c:v>1.6995910870088125</c:v>
                </c:pt>
                <c:pt idx="11">
                  <c:v>1.3729133825387048</c:v>
                </c:pt>
                <c:pt idx="12">
                  <c:v>1.4712016945545208</c:v>
                </c:pt>
                <c:pt idx="13">
                  <c:v>1.5997065933838874</c:v>
                </c:pt>
                <c:pt idx="14">
                  <c:v>1.4699427187057301</c:v>
                </c:pt>
                <c:pt idx="15">
                  <c:v>1.609386955934645</c:v>
                </c:pt>
                <c:pt idx="16">
                  <c:v>1.659269636091566</c:v>
                </c:pt>
                <c:pt idx="17">
                  <c:v>1.6403515218966223</c:v>
                </c:pt>
                <c:pt idx="18">
                  <c:v>1.5122002544310214</c:v>
                </c:pt>
                <c:pt idx="19">
                  <c:v>1.5487446410521544</c:v>
                </c:pt>
                <c:pt idx="20">
                  <c:v>1.5135031213245274</c:v>
                </c:pt>
                <c:pt idx="21">
                  <c:v>1.611401258794565</c:v>
                </c:pt>
                <c:pt idx="22">
                  <c:v>1.494045895817652</c:v>
                </c:pt>
                <c:pt idx="23">
                  <c:v>1.6419580563290552</c:v>
                </c:pt>
                <c:pt idx="24">
                  <c:v>1.5894598234927526</c:v>
                </c:pt>
                <c:pt idx="25">
                  <c:v>1.5305931853483021</c:v>
                </c:pt>
                <c:pt idx="26">
                  <c:v>1.6243822964545434</c:v>
                </c:pt>
                <c:pt idx="27">
                  <c:v>1.4962697423108893</c:v>
                </c:pt>
                <c:pt idx="28">
                  <c:v>1.45063093939866</c:v>
                </c:pt>
                <c:pt idx="29">
                  <c:v>1.6702616182801635</c:v>
                </c:pt>
                <c:pt idx="30">
                  <c:v>1.581499129383061</c:v>
                </c:pt>
                <c:pt idx="31">
                  <c:v>1.7125085609709543</c:v>
                </c:pt>
                <c:pt idx="32">
                  <c:v>1.5482331053799052</c:v>
                </c:pt>
                <c:pt idx="33">
                  <c:v>1.621128821299519</c:v>
                </c:pt>
                <c:pt idx="34">
                  <c:v>1.4478490640588728</c:v>
                </c:pt>
                <c:pt idx="35">
                  <c:v>1.6244482037216845</c:v>
                </c:pt>
                <c:pt idx="36">
                  <c:v>1.561987291825698</c:v>
                </c:pt>
                <c:pt idx="37">
                  <c:v>1.477367621462276</c:v>
                </c:pt>
                <c:pt idx="38">
                  <c:v>1.7195754495454976</c:v>
                </c:pt>
                <c:pt idx="39">
                  <c:v>1.6498036008199288</c:v>
                </c:pt>
                <c:pt idx="40">
                  <c:v>1.6969233401435173</c:v>
                </c:pt>
                <c:pt idx="41">
                  <c:v>1.7076086034277955</c:v>
                </c:pt>
                <c:pt idx="42">
                  <c:v>1.6742789936592348</c:v>
                </c:pt>
                <c:pt idx="43">
                  <c:v>1.6534255185417976</c:v>
                </c:pt>
                <c:pt idx="44">
                  <c:v>1.636632127443766</c:v>
                </c:pt>
                <c:pt idx="45">
                  <c:v>1.5911324831589204</c:v>
                </c:pt>
                <c:pt idx="46">
                  <c:v>1.8373809963952306</c:v>
                </c:pt>
                <c:pt idx="47">
                  <c:v>1.8698903612897655</c:v>
                </c:pt>
                <c:pt idx="48">
                  <c:v>1.9207425559770384</c:v>
                </c:pt>
                <c:pt idx="49">
                  <c:v>1.7733992898139672</c:v>
                </c:pt>
                <c:pt idx="50">
                  <c:v>1.7816938562280817</c:v>
                </c:pt>
                <c:pt idx="51">
                  <c:v>1.622673739099164</c:v>
                </c:pt>
                <c:pt idx="52">
                  <c:v>1.5113070045625676</c:v>
                </c:pt>
                <c:pt idx="53">
                  <c:v>1.5113070045625676</c:v>
                </c:pt>
                <c:pt idx="54">
                  <c:v>1.7304960725092706</c:v>
                </c:pt>
              </c:numCache>
            </c:numRef>
          </c:xVal>
          <c:yVal>
            <c:numRef>
              <c:f>Sheet1!$B$186:$B$240</c:f>
              <c:numCache>
                <c:formatCode>General</c:formatCode>
                <c:ptCount val="55"/>
                <c:pt idx="0">
                  <c:v>0.018659014669526283</c:v>
                </c:pt>
                <c:pt idx="1">
                  <c:v>0.023313432971680592</c:v>
                </c:pt>
                <c:pt idx="2">
                  <c:v>0.01898647327783956</c:v>
                </c:pt>
                <c:pt idx="3">
                  <c:v>0.021917667632721967</c:v>
                </c:pt>
                <c:pt idx="4">
                  <c:v>0.01891198457656544</c:v>
                </c:pt>
                <c:pt idx="5">
                  <c:v>0.0191499617670106</c:v>
                </c:pt>
                <c:pt idx="6">
                  <c:v>0.0166607192971351</c:v>
                </c:pt>
                <c:pt idx="7">
                  <c:v>0.019265182971288583</c:v>
                </c:pt>
                <c:pt idx="8">
                  <c:v>0.02409029928691306</c:v>
                </c:pt>
                <c:pt idx="9">
                  <c:v>0.01795561855898778</c:v>
                </c:pt>
                <c:pt idx="10">
                  <c:v>0.018226127941336365</c:v>
                </c:pt>
                <c:pt idx="11">
                  <c:v>0.030840227972812315</c:v>
                </c:pt>
                <c:pt idx="12">
                  <c:v>0.02704499315045586</c:v>
                </c:pt>
                <c:pt idx="13">
                  <c:v>0.022082996582622583</c:v>
                </c:pt>
                <c:pt idx="14">
                  <c:v>0.027093606346509806</c:v>
                </c:pt>
                <c:pt idx="15">
                  <c:v>0.021709205963044556</c:v>
                </c:pt>
                <c:pt idx="16">
                  <c:v>0.019783071706780675</c:v>
                </c:pt>
                <c:pt idx="17">
                  <c:v>0.020513562283874034</c:v>
                </c:pt>
                <c:pt idx="18">
                  <c:v>0.0254619039822878</c:v>
                </c:pt>
                <c:pt idx="19">
                  <c:v>0.024050805085362358</c:v>
                </c:pt>
                <c:pt idx="20">
                  <c:v>0.02541159600871782</c:v>
                </c:pt>
                <c:pt idx="21">
                  <c:v>0.021631427108163917</c:v>
                </c:pt>
                <c:pt idx="22">
                  <c:v>0.02616290344574302</c:v>
                </c:pt>
                <c:pt idx="23">
                  <c:v>0.020451528708403707</c:v>
                </c:pt>
                <c:pt idx="24">
                  <c:v>0.02247865805151881</c:v>
                </c:pt>
                <c:pt idx="25">
                  <c:v>0.024751692457938616</c:v>
                </c:pt>
                <c:pt idx="26">
                  <c:v>0.021130186572569584</c:v>
                </c:pt>
                <c:pt idx="27">
                  <c:v>0.02607703342236372</c:v>
                </c:pt>
                <c:pt idx="28">
                  <c:v>0.027839297627646684</c:v>
                </c:pt>
                <c:pt idx="29">
                  <c:v>0.019358635141401723</c:v>
                </c:pt>
                <c:pt idx="30">
                  <c:v>0.022786046619656677</c:v>
                </c:pt>
                <c:pt idx="31">
                  <c:v>0.017727341809063435</c:v>
                </c:pt>
                <c:pt idx="32">
                  <c:v>0.02407055715919882</c:v>
                </c:pt>
                <c:pt idx="33">
                  <c:v>0.02125581394319767</c:v>
                </c:pt>
                <c:pt idx="34">
                  <c:v>0.02794671497915554</c:v>
                </c:pt>
                <c:pt idx="35">
                  <c:v>0.021127641676333506</c:v>
                </c:pt>
                <c:pt idx="36">
                  <c:v>0.023539462807473086</c:v>
                </c:pt>
                <c:pt idx="37">
                  <c:v>0.026806906443781607</c:v>
                </c:pt>
                <c:pt idx="38">
                  <c:v>0.017454466010774175</c:v>
                </c:pt>
                <c:pt idx="39">
                  <c:v>0.020148586445570688</c:v>
                </c:pt>
                <c:pt idx="40">
                  <c:v>0.018329138417279525</c:v>
                </c:pt>
                <c:pt idx="41">
                  <c:v>0.01791654527704925</c:v>
                </c:pt>
                <c:pt idx="42">
                  <c:v>0.01920351107201415</c:v>
                </c:pt>
                <c:pt idx="43">
                  <c:v>0.020008732296284498</c:v>
                </c:pt>
                <c:pt idx="44">
                  <c:v>0.02065718033017122</c:v>
                </c:pt>
                <c:pt idx="45">
                  <c:v>0.022414071163405706</c:v>
                </c:pt>
                <c:pt idx="46">
                  <c:v>0.012905606594011507</c:v>
                </c:pt>
                <c:pt idx="47">
                  <c:v>0.011650313149959096</c:v>
                </c:pt>
                <c:pt idx="48">
                  <c:v>0.009686742750669594</c:v>
                </c:pt>
                <c:pt idx="49">
                  <c:v>0.01537615060713822</c:v>
                </c:pt>
                <c:pt idx="50">
                  <c:v>0.015055870131814447</c:v>
                </c:pt>
                <c:pt idx="51">
                  <c:v>0.021196159588466795</c:v>
                </c:pt>
                <c:pt idx="52">
                  <c:v>0.02549639529601873</c:v>
                </c:pt>
                <c:pt idx="53">
                  <c:v>0.02549639529601873</c:v>
                </c:pt>
                <c:pt idx="54">
                  <c:v>0.01703278485963925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esiden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0/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0/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 Id="rId7" Type="http://schemas.openxmlformats.org/officeDocument/2006/relationships/chart" Target="../charts/chart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 Id="rId7" Type="http://schemas.openxmlformats.org/officeDocument/2006/relationships/chart" Target="../charts/chart2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 Id="rId7" Type="http://schemas.openxmlformats.org/officeDocument/2006/relationships/chart" Target="../charts/chart2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 Id="rId7" Type="http://schemas.openxmlformats.org/officeDocument/2006/relationships/chart" Target="../charts/chart3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 Id="rId7" Type="http://schemas.openxmlformats.org/officeDocument/2006/relationships/chart" Target="../charts/chart3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 Id="rId7" Type="http://schemas.openxmlformats.org/officeDocument/2006/relationships/chart" Target="../charts/chart36.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 Id="rId7" Type="http://schemas.openxmlformats.org/officeDocument/2006/relationships/chart" Target="../charts/chart4.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 Id="rId7" Type="http://schemas.openxmlformats.org/officeDocument/2006/relationships/chart" Target="../charts/chart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 Id="rId7" Type="http://schemas.openxmlformats.org/officeDocument/2006/relationships/chart" Target="../charts/chart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 Id="rId7" Type="http://schemas.openxmlformats.org/officeDocument/2006/relationships/chart" Target="../charts/chart1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 Id="rId7" Type="http://schemas.openxmlformats.org/officeDocument/2006/relationships/chart" Target="../charts/chart1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Soft Chees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72367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t Moret | Frais A Tartiner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570530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Frais A Tartiner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223576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Tartare | Frais A Tartiner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38178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t Moret | Frais A Tartiner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317566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Frais A Tartiner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676195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aysan Breton | Frais A Tartiner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638194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Kiri vs St Moret | Frais A Tartiner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776798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Kiri vs Private Label | Frais A Tartiner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816411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Kiri vs Tartare | Frais A Tartiner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742705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esident | Soft Chees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598721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oignon | Soft Chees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454477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oursin vs Private Label | Soft Cheese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70147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oursin vs President | Soft Cheese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764405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oursin vs Soignon | Soft Cheese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457787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Mini Babybel | Enfant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41674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Enfant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407961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Ficello | Enfant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377995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1278</Words>
  <Application>Microsoft Office PowerPoint</Application>
  <PresentationFormat>On-screen Show (16:9)</PresentationFormat>
  <Paragraphs>234</Paragraphs>
  <Slides>18</Slides>
  <Notes>1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7" baseType="lpstr">
      <vt:lpstr>Aptos</vt:lpstr>
      <vt:lpstr>Arial</vt:lpstr>
      <vt:lpstr>Nexa</vt:lpstr>
      <vt:lpstr>Nexa Bold</vt:lpstr>
      <vt:lpstr>Nexa Book</vt:lpstr>
      <vt:lpstr>Nexa Book Italic</vt:lpstr>
      <vt:lpstr>Open Sans</vt:lpstr>
      <vt:lpstr>PricingOne Light Template Oct 2024</vt:lpstr>
      <vt:lpstr>think-cell Slide</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10T16:1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